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78" r:id="rId2"/>
    <p:sldId id="257" r:id="rId3"/>
    <p:sldId id="258" r:id="rId4"/>
    <p:sldId id="261" r:id="rId5"/>
    <p:sldId id="262" r:id="rId6"/>
    <p:sldId id="263" r:id="rId7"/>
    <p:sldId id="265" r:id="rId8"/>
    <p:sldId id="260" r:id="rId9"/>
    <p:sldId id="259" r:id="rId10"/>
    <p:sldId id="274" r:id="rId11"/>
    <p:sldId id="275" r:id="rId12"/>
    <p:sldId id="276" r:id="rId13"/>
    <p:sldId id="277" r:id="rId14"/>
    <p:sldId id="267" r:id="rId15"/>
    <p:sldId id="268" r:id="rId16"/>
    <p:sldId id="269" r:id="rId17"/>
    <p:sldId id="270" r:id="rId18"/>
    <p:sldId id="271" r:id="rId19"/>
    <p:sldId id="272" r:id="rId20"/>
    <p:sldId id="273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rbano Bryan" initials="UB" lastIdx="1" clrIdx="0">
    <p:extLst>
      <p:ext uri="{19B8F6BF-5375-455C-9EA6-DF929625EA0E}">
        <p15:presenceInfo xmlns:p15="http://schemas.microsoft.com/office/powerpoint/2012/main" userId="S-1-5-21-1417001333-1606980848-854245398-1600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8" autoAdjust="0"/>
    <p:restoredTop sz="94660"/>
  </p:normalViewPr>
  <p:slideViewPr>
    <p:cSldViewPr snapToGrid="0">
      <p:cViewPr>
        <p:scale>
          <a:sx n="100" d="100"/>
          <a:sy n="100" d="100"/>
        </p:scale>
        <p:origin x="4296" y="15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shade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2A80-4E7F-858F-ACD58DBD77C6}"/>
              </c:ext>
            </c:extLst>
          </c:dPt>
          <c:dPt>
            <c:idx val="1"/>
            <c:bubble3D val="0"/>
            <c:spPr>
              <a:solidFill>
                <a:schemeClr val="accent2">
                  <a:shade val="6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A80-4E7F-858F-ACD58DBD77C6}"/>
              </c:ext>
            </c:extLst>
          </c:dPt>
          <c:dPt>
            <c:idx val="2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A80-4E7F-858F-ACD58DBD77C6}"/>
              </c:ext>
            </c:extLst>
          </c:dPt>
          <c:dPt>
            <c:idx val="3"/>
            <c:bubble3D val="0"/>
            <c:spPr>
              <a:solidFill>
                <a:schemeClr val="accent2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A80-4E7F-858F-ACD58DBD77C6}"/>
              </c:ext>
            </c:extLst>
          </c:dPt>
          <c:dPt>
            <c:idx val="4"/>
            <c:bubble3D val="0"/>
            <c:spPr>
              <a:solidFill>
                <a:schemeClr val="accent2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A80-4E7F-858F-ACD58DBD77C6}"/>
              </c:ext>
            </c:extLst>
          </c:dPt>
          <c:dPt>
            <c:idx val="5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A80-4E7F-858F-ACD58DBD77C6}"/>
              </c:ext>
            </c:extLst>
          </c:dPt>
          <c:dPt>
            <c:idx val="6"/>
            <c:bubble3D val="0"/>
            <c:spPr>
              <a:solidFill>
                <a:schemeClr val="accent2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2A80-4E7F-858F-ACD58DBD77C6}"/>
              </c:ext>
            </c:extLst>
          </c:dPt>
          <c:dPt>
            <c:idx val="7"/>
            <c:bubble3D val="0"/>
            <c:spPr>
              <a:solidFill>
                <a:schemeClr val="accent2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A80-4E7F-858F-ACD58DBD77C6}"/>
              </c:ext>
            </c:extLst>
          </c:dPt>
          <c:dLbls>
            <c:dLbl>
              <c:idx val="0"/>
              <c:layout>
                <c:manualLayout>
                  <c:x val="2.0385333432151397E-2"/>
                  <c:y val="0"/>
                </c:manualLayout>
              </c:layout>
              <c:tx>
                <c:rich>
                  <a:bodyPr/>
                  <a:lstStyle/>
                  <a:p>
                    <a:fld id="{B3701973-05AE-4949-98F3-2FD8CF293FCE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6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2A80-4E7F-858F-ACD58DBD77C6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6C4E406E-4926-4606-9360-A01441184506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7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A80-4E7F-858F-ACD58DBD77C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AF9F3F21-11A4-4023-ABB4-266CBA0DC8ED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2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A80-4E7F-858F-ACD58DBD77C6}"/>
                </c:ext>
              </c:extLst>
            </c:dLbl>
            <c:dLbl>
              <c:idx val="3"/>
              <c:layout>
                <c:manualLayout>
                  <c:x val="-7.2453537345682018E-3"/>
                  <c:y val="2.3723926939118869E-2"/>
                </c:manualLayout>
              </c:layout>
              <c:tx>
                <c:rich>
                  <a:bodyPr/>
                  <a:lstStyle/>
                  <a:p>
                    <a:fld id="{A605574D-B766-494C-88C3-7A0C67A4431C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4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A80-4E7F-858F-ACD58DBD77C6}"/>
                </c:ext>
              </c:extLst>
            </c:dLbl>
            <c:dLbl>
              <c:idx val="4"/>
              <c:layout>
                <c:manualLayout>
                  <c:x val="2.3766185476815398E-2"/>
                  <c:y val="2.661344415281423E-2"/>
                </c:manualLayout>
              </c:layout>
              <c:tx>
                <c:rich>
                  <a:bodyPr/>
                  <a:lstStyle/>
                  <a:p>
                    <a:fld id="{4ECC5285-31DC-41FE-A961-DE44FA959299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16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2A80-4E7F-858F-ACD58DBD77C6}"/>
                </c:ext>
              </c:extLst>
            </c:dLbl>
            <c:dLbl>
              <c:idx val="5"/>
              <c:layout>
                <c:manualLayout>
                  <c:x val="4.6341644794400699E-2"/>
                  <c:y val="-2.4305555555555556E-2"/>
                </c:manualLayout>
              </c:layout>
              <c:tx>
                <c:rich>
                  <a:bodyPr/>
                  <a:lstStyle/>
                  <a:p>
                    <a:fld id="{79340D8C-6B80-4B22-ABA5-3110D9B2A926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14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A80-4E7F-858F-ACD58DBD77C6}"/>
                </c:ext>
              </c:extLst>
            </c:dLbl>
            <c:dLbl>
              <c:idx val="6"/>
              <c:layout>
                <c:manualLayout>
                  <c:x val="-5.6377405949256346E-2"/>
                  <c:y val="-7.6442475940507432E-2"/>
                </c:manualLayout>
              </c:layout>
              <c:tx>
                <c:rich>
                  <a:bodyPr/>
                  <a:lstStyle/>
                  <a:p>
                    <a:fld id="{7A30A036-2B2A-42F1-81F9-E12ADE9B39BF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13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A80-4E7F-858F-ACD58DBD77C6}"/>
                </c:ext>
              </c:extLst>
            </c:dLbl>
            <c:dLbl>
              <c:idx val="7"/>
              <c:layout>
                <c:manualLayout>
                  <c:x val="7.4328459680893522E-3"/>
                  <c:y val="-2.2386628754738992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err="1" smtClean="0"/>
                      <a:t>Norteamérica</a:t>
                    </a:r>
                    <a:r>
                      <a:rPr lang="en-US" baseline="0" dirty="0"/>
                      <a:t>
</a:t>
                    </a:r>
                    <a:r>
                      <a:rPr lang="en-US" baseline="0" dirty="0" smtClean="0"/>
                      <a:t>39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2A80-4E7F-858F-ACD58DBD77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23:$B$30</c:f>
              <c:strCache>
                <c:ptCount val="8"/>
                <c:pt idx="0">
                  <c:v>Australia</c:v>
                </c:pt>
                <c:pt idx="1">
                  <c:v>Alemania</c:v>
                </c:pt>
                <c:pt idx="2">
                  <c:v>Africa</c:v>
                </c:pt>
                <c:pt idx="3">
                  <c:v>América Latina</c:v>
                </c:pt>
                <c:pt idx="4">
                  <c:v>Asia</c:v>
                </c:pt>
                <c:pt idx="5">
                  <c:v>Resto de Europa</c:v>
                </c:pt>
                <c:pt idx="6">
                  <c:v>Reino Unido</c:v>
                </c:pt>
                <c:pt idx="7">
                  <c:v>USA</c:v>
                </c:pt>
              </c:strCache>
            </c:strRef>
          </c:cat>
          <c:val>
            <c:numRef>
              <c:f>Sheet1!$C$23:$C$30</c:f>
              <c:numCache>
                <c:formatCode>0%</c:formatCode>
                <c:ptCount val="8"/>
                <c:pt idx="0">
                  <c:v>0.06</c:v>
                </c:pt>
                <c:pt idx="1">
                  <c:v>7.0000000000000007E-2</c:v>
                </c:pt>
                <c:pt idx="2">
                  <c:v>0.03</c:v>
                </c:pt>
                <c:pt idx="3">
                  <c:v>0.05</c:v>
                </c:pt>
                <c:pt idx="4">
                  <c:v>0.15</c:v>
                </c:pt>
                <c:pt idx="5">
                  <c:v>0.15</c:v>
                </c:pt>
                <c:pt idx="6">
                  <c:v>0.16</c:v>
                </c:pt>
                <c:pt idx="7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A80-4E7F-858F-ACD58DBD77C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21420448133089E-4"/>
          <c:y val="5.5385547218569933E-2"/>
          <c:w val="0.99959032546510518"/>
          <c:h val="0.743045453213725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&amp;C</c:v>
                </c:pt>
              </c:strCache>
            </c:strRef>
          </c:tx>
          <c:spPr>
            <a:solidFill>
              <a:srgbClr val="009EE0"/>
            </a:solidFill>
            <a:ln w="6350">
              <a:solidFill>
                <a:schemeClr val="bg1"/>
              </a:solidFill>
            </a:ln>
          </c:spPr>
          <c:invertIfNegative val="0"/>
          <c:dLbls>
            <c:numFmt formatCode="0&quot;.&quot;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Tabelle1!$B$2:$B$5</c:f>
              <c:numCache>
                <c:formatCode>_(* #,##0.00_);_(* \(#,##0.00\);_(* "-"??_);_(@_)</c:formatCode>
                <c:ptCount val="4"/>
                <c:pt idx="0">
                  <c:v>14.688700000000001</c:v>
                </c:pt>
                <c:pt idx="1">
                  <c:v>16.843600000000002</c:v>
                </c:pt>
                <c:pt idx="2">
                  <c:v>19.15578</c:v>
                </c:pt>
                <c:pt idx="3">
                  <c:v>24.29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B3-4DEA-A9FC-EAB68E92B83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L&amp;H</c:v>
                </c:pt>
              </c:strCache>
            </c:strRef>
          </c:tx>
          <c:spPr>
            <a:solidFill>
              <a:srgbClr val="D3CFCA"/>
            </a:solidFill>
            <a:ln w="6350">
              <a:solidFill>
                <a:schemeClr val="bg1"/>
              </a:solidFill>
            </a:ln>
          </c:spPr>
          <c:invertIfNegative val="0"/>
          <c:dLbls>
            <c:numFmt formatCode="0&quot;.&quot;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3E3E3E"/>
                    </a:solidFill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Tabelle1!$C$2:$C$5</c:f>
              <c:numCache>
                <c:formatCode>_(* #,##0.00_);_(* \(#,##0.00\);_(* "-"??_);_(@_)</c:formatCode>
                <c:ptCount val="4"/>
                <c:pt idx="0">
                  <c:v>7.9092999999999991</c:v>
                </c:pt>
                <c:pt idx="1">
                  <c:v>7.9264000000000001</c:v>
                </c:pt>
                <c:pt idx="2">
                  <c:v>8.6062199999999986</c:v>
                </c:pt>
                <c:pt idx="3">
                  <c:v>8.98451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B3-4DEA-A9FC-EAB68E92B8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80"/>
        <c:overlap val="100"/>
        <c:axId val="330613888"/>
        <c:axId val="330615424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Column1</c:v>
                </c:pt>
              </c:strCache>
            </c:strRef>
          </c:tx>
          <c:spPr>
            <a:ln w="19050">
              <a:noFill/>
            </a:ln>
          </c:spPr>
          <c:marker>
            <c:symbol val="none"/>
          </c:marker>
          <c:dLbls>
            <c:numFmt formatCode="0&quot;.&quot;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Tabelle1!$D$2:$D$5</c:f>
              <c:numCache>
                <c:formatCode>_(* #,##0.00_);_(* \(#,##0.00\);_(* "-"??_);_(@_)</c:formatCode>
                <c:ptCount val="4"/>
                <c:pt idx="0">
                  <c:v>22.597999999999999</c:v>
                </c:pt>
                <c:pt idx="1">
                  <c:v>24.770000000000003</c:v>
                </c:pt>
                <c:pt idx="2">
                  <c:v>27.762</c:v>
                </c:pt>
                <c:pt idx="3">
                  <c:v>33.275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68-4E39-A118-EBE45AEDE7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613888"/>
        <c:axId val="330615424"/>
      </c:lineChart>
      <c:catAx>
        <c:axId val="3306138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525">
            <a:solidFill>
              <a:schemeClr val="tx1"/>
            </a:solidFill>
          </a:ln>
        </c:spPr>
        <c:crossAx val="330615424"/>
        <c:crosses val="autoZero"/>
        <c:auto val="1"/>
        <c:lblAlgn val="ctr"/>
        <c:lblOffset val="100"/>
        <c:noMultiLvlLbl val="0"/>
      </c:catAx>
      <c:valAx>
        <c:axId val="330615424"/>
        <c:scaling>
          <c:orientation val="minMax"/>
          <c:max val="80"/>
          <c:min val="0"/>
        </c:scaling>
        <c:delete val="0"/>
        <c:axPos val="l"/>
        <c:numFmt formatCode="0&quot;.&quot;0%" sourceLinked="0"/>
        <c:majorTickMark val="none"/>
        <c:minorTickMark val="none"/>
        <c:tickLblPos val="none"/>
        <c:spPr>
          <a:ln>
            <a:noFill/>
          </a:ln>
        </c:spPr>
        <c:crossAx val="330613888"/>
        <c:crossesAt val="2"/>
        <c:crossBetween val="between"/>
        <c:majorUnit val="40"/>
      </c:valAx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45546588147987727"/>
          <c:y val="0.86499421296296297"/>
          <c:w val="8.7524979591262556E-2"/>
          <c:h val="2.670381944444444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/>
      </a:pPr>
      <a:endParaRPr lang="es-MX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562127898322134E-2"/>
          <c:y val="8.655873570959885E-2"/>
          <c:w val="0.97687574420335577"/>
          <c:h val="0.91344126429040118"/>
        </c:manualLayout>
      </c:layou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0.1784</c:v>
                </c:pt>
                <c:pt idx="1">
                  <c:v>9.6100000000000005E-2</c:v>
                </c:pt>
                <c:pt idx="2">
                  <c:v>0.1208</c:v>
                </c:pt>
                <c:pt idx="3">
                  <c:v>0.19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AB-4196-9325-3B058404C17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67161216"/>
        <c:axId val="567162528"/>
      </c:lineChart>
      <c:catAx>
        <c:axId val="5671612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67162528"/>
        <c:crosses val="autoZero"/>
        <c:auto val="1"/>
        <c:lblAlgn val="ctr"/>
        <c:lblOffset val="100"/>
        <c:noMultiLvlLbl val="0"/>
      </c:catAx>
      <c:valAx>
        <c:axId val="56716252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567161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accent1"/>
          </a:solidFill>
        </a:defRPr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6-05T15:07:37.952" idx="1">
    <p:pos x="10" y="1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</cdr:x>
      <cdr:y>0</cdr:y>
    </cdr:to>
    <cdr:sp macro="" textlink="">
      <cdr:nvSpPr>
        <cdr:cNvPr id="4" name="ee4p_colorscheme" descr="HR 2 chart colors" hidden="1">
          <a:extLst xmlns:a="http://schemas.openxmlformats.org/drawingml/2006/main">
            <a:ext uri="{FF2B5EF4-FFF2-40B4-BE49-F238E27FC236}">
              <a16:creationId xmlns:a16="http://schemas.microsoft.com/office/drawing/2014/main" id="{B90E5080-A7A5-4D30-BE7B-0377E75E3464}"/>
            </a:ext>
          </a:extLst>
        </cdr:cNvPr>
        <cdr:cNvSpPr/>
      </cdr:nvSpPr>
      <cdr:spPr bwMode="gray">
        <a:xfrm xmlns:a="http://schemas.openxmlformats.org/drawingml/2006/main">
          <a:off x="-1270000" y="-1270000"/>
          <a:ext cx="0" cy="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en-US"/>
            <a:t>HR 2 chart color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3E5D02-29A5-45AE-9406-B5A45B21D455}" type="datetimeFigureOut">
              <a:rPr lang="en-GB" smtClean="0"/>
              <a:t>05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188911-C2CA-4FA4-9FB0-8CCFD06499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5927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F4EEDB6A-38C4-4996-A5FD-5E909304D8B3}" type="slidenum">
              <a:rPr lang="de-DE" sz="800" smtClean="0"/>
              <a:pPr algn="l"/>
              <a:t>7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163860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Bar">
            <a:extLst>
              <a:ext uri="{FF2B5EF4-FFF2-40B4-BE49-F238E27FC236}">
                <a16:creationId xmlns:a16="http://schemas.microsoft.com/office/drawing/2014/main" id="{B1D20B52-9EC4-4386-8A0C-64C7C2BD05E5}"/>
              </a:ext>
            </a:extLst>
          </p:cNvPr>
          <p:cNvSpPr/>
          <p:nvPr/>
        </p:nvSpPr>
        <p:spPr bwMode="gray">
          <a:xfrm>
            <a:off x="121262" y="3923361"/>
            <a:ext cx="11947639" cy="1313237"/>
          </a:xfrm>
          <a:custGeom>
            <a:avLst/>
            <a:gdLst>
              <a:gd name="connsiteX0" fmla="*/ 300 w 12193221"/>
              <a:gd name="connsiteY0" fmla="*/ 300 h 3721257"/>
              <a:gd name="connsiteX1" fmla="*/ 12194694 w 12193221"/>
              <a:gd name="connsiteY1" fmla="*/ 300 h 3721257"/>
              <a:gd name="connsiteX2" fmla="*/ 12194694 w 12193221"/>
              <a:gd name="connsiteY2" fmla="*/ 3721363 h 3721257"/>
              <a:gd name="connsiteX3" fmla="*/ 301 w 12193221"/>
              <a:gd name="connsiteY3" fmla="*/ 3721363 h 3721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21" h="3721257">
                <a:moveTo>
                  <a:pt x="300" y="300"/>
                </a:moveTo>
                <a:lnTo>
                  <a:pt x="12194694" y="300"/>
                </a:lnTo>
                <a:lnTo>
                  <a:pt x="12194694" y="3721363"/>
                </a:lnTo>
                <a:lnTo>
                  <a:pt x="301" y="3721363"/>
                </a:lnTo>
                <a:close/>
              </a:path>
            </a:pathLst>
          </a:custGeom>
          <a:solidFill>
            <a:schemeClr val="accent1"/>
          </a:solidFill>
          <a:ln w="19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 dirty="0"/>
          </a:p>
        </p:txBody>
      </p:sp>
      <p:sp>
        <p:nvSpPr>
          <p:cNvPr id="12" name="TitleCallout">
            <a:extLst>
              <a:ext uri="{FF2B5EF4-FFF2-40B4-BE49-F238E27FC236}">
                <a16:creationId xmlns:a16="http://schemas.microsoft.com/office/drawing/2014/main" id="{27B859DF-90F5-4098-B54A-8B4B51F4A9CD}"/>
              </a:ext>
            </a:extLst>
          </p:cNvPr>
          <p:cNvSpPr/>
          <p:nvPr/>
        </p:nvSpPr>
        <p:spPr bwMode="gray">
          <a:xfrm>
            <a:off x="877946" y="4956615"/>
            <a:ext cx="1037454" cy="715302"/>
          </a:xfrm>
          <a:custGeom>
            <a:avLst/>
            <a:gdLst>
              <a:gd name="connsiteX0" fmla="*/ 300 w 1371297"/>
              <a:gd name="connsiteY0" fmla="*/ 335702 h 945453"/>
              <a:gd name="connsiteX1" fmla="*/ 1372184 w 1371297"/>
              <a:gd name="connsiteY1" fmla="*/ 945363 h 945453"/>
              <a:gd name="connsiteX2" fmla="*/ 1219623 w 1371297"/>
              <a:gd name="connsiteY2" fmla="*/ 335702 h 945453"/>
              <a:gd name="connsiteX3" fmla="*/ 1219623 w 1371297"/>
              <a:gd name="connsiteY3" fmla="*/ 300 h 945453"/>
              <a:gd name="connsiteX4" fmla="*/ 300 w 1371297"/>
              <a:gd name="connsiteY4" fmla="*/ 300 h 945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1297" h="945453">
                <a:moveTo>
                  <a:pt x="300" y="335702"/>
                </a:moveTo>
                <a:lnTo>
                  <a:pt x="1372184" y="945363"/>
                </a:lnTo>
                <a:lnTo>
                  <a:pt x="1219623" y="335702"/>
                </a:lnTo>
                <a:lnTo>
                  <a:pt x="1219623" y="300"/>
                </a:lnTo>
                <a:lnTo>
                  <a:pt x="300" y="300"/>
                </a:lnTo>
                <a:close/>
              </a:path>
            </a:pathLst>
          </a:custGeom>
          <a:solidFill>
            <a:schemeClr val="accent1"/>
          </a:solidFill>
          <a:ln w="19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 dirty="0"/>
          </a:p>
        </p:txBody>
      </p:sp>
      <p:sp>
        <p:nvSpPr>
          <p:cNvPr id="7172" name="Title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338050" y="4004866"/>
            <a:ext cx="11515901" cy="647850"/>
          </a:xfrm>
        </p:spPr>
        <p:txBody>
          <a:bodyPr>
            <a:noAutofit/>
          </a:bodyPr>
          <a:lstStyle>
            <a:lvl1pPr>
              <a:defRPr sz="3199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of presentation</a:t>
            </a:r>
          </a:p>
        </p:txBody>
      </p:sp>
      <p:sp>
        <p:nvSpPr>
          <p:cNvPr id="717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050" y="4737068"/>
            <a:ext cx="11515901" cy="359917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99" b="0">
                <a:solidFill>
                  <a:schemeClr val="bg1"/>
                </a:solidFill>
              </a:defRPr>
            </a:lvl1pPr>
            <a:lvl2pPr marL="0" indent="0">
              <a:buNone/>
              <a:defRPr sz="1999">
                <a:solidFill>
                  <a:schemeClr val="bg1"/>
                </a:solidFill>
              </a:defRPr>
            </a:lvl2pPr>
            <a:lvl3pPr marL="0" indent="0">
              <a:buNone/>
              <a:defRPr sz="1999">
                <a:solidFill>
                  <a:schemeClr val="bg1"/>
                </a:solidFill>
              </a:defRPr>
            </a:lvl3pPr>
            <a:lvl4pPr marL="0" indent="0">
              <a:buNone/>
              <a:defRPr sz="1999">
                <a:solidFill>
                  <a:schemeClr val="bg1"/>
                </a:solidFill>
              </a:defRPr>
            </a:lvl4pPr>
            <a:lvl5pPr marL="0" indent="0">
              <a:buNone/>
              <a:defRPr sz="1999">
                <a:solidFill>
                  <a:schemeClr val="bg1"/>
                </a:solidFill>
              </a:defRPr>
            </a:lvl5pPr>
            <a:lvl6pPr marL="0" indent="0">
              <a:buNone/>
              <a:defRPr sz="1999">
                <a:solidFill>
                  <a:schemeClr val="bg1"/>
                </a:solidFill>
              </a:defRPr>
            </a:lvl6pPr>
            <a:lvl7pPr marL="0" indent="0">
              <a:buNone/>
              <a:defRPr sz="1999">
                <a:solidFill>
                  <a:schemeClr val="bg1"/>
                </a:solidFill>
              </a:defRPr>
            </a:lvl7pPr>
            <a:lvl8pPr marL="0" indent="0">
              <a:buNone/>
              <a:defRPr sz="1999">
                <a:solidFill>
                  <a:schemeClr val="bg1"/>
                </a:solidFill>
              </a:defRPr>
            </a:lvl8pPr>
            <a:lvl9pPr marL="0" indent="0">
              <a:buNone/>
              <a:defRPr sz="19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3" name="Author">
            <a:extLst>
              <a:ext uri="{FF2B5EF4-FFF2-40B4-BE49-F238E27FC236}">
                <a16:creationId xmlns:a16="http://schemas.microsoft.com/office/drawing/2014/main" id="{12ADFE92-98F1-42D6-B6C3-5E25F7DDD2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33416" y="5445614"/>
            <a:ext cx="9717469" cy="791817"/>
          </a:xfrm>
        </p:spPr>
        <p:txBody>
          <a:bodyPr lIns="0" tIns="54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  <p:pic>
        <p:nvPicPr>
          <p:cNvPr id="39" name="Logo">
            <a:extLst>
              <a:ext uri="{FF2B5EF4-FFF2-40B4-BE49-F238E27FC236}">
                <a16:creationId xmlns:a16="http://schemas.microsoft.com/office/drawing/2014/main" id="{81413571-8038-4D6B-9A02-5B9AF97FD2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7284" y="6281743"/>
            <a:ext cx="2015475" cy="3684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70" b="15069"/>
          <a:stretch/>
        </p:blipFill>
        <p:spPr>
          <a:xfrm>
            <a:off x="122237" y="117475"/>
            <a:ext cx="11950702" cy="37251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F5C735-8311-4EA1-9237-9C6D1066287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8765" y="333825"/>
            <a:ext cx="1416467" cy="70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67175"/>
      </p:ext>
    </p:extLst>
  </p:cSld>
  <p:clrMapOvr>
    <a:masterClrMapping/>
  </p:clrMapOvr>
  <p:transition spd="slow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11515901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1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11515901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074695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3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5C8787-D1DF-4185-9054-02FB27DEB3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939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4F0D93FE-C61F-4D74-833B-15C29D80746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38839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78395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4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260B57-5970-4872-B2B8-9BB7CC84A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39" y="1733149"/>
            <a:ext cx="5615113" cy="450383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126847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260B57-5970-4872-B2B8-9BB7CC84A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39" y="1733149"/>
            <a:ext cx="5615113" cy="203686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A1A031-226E-4EC7-A844-90EFFE7AC0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050" y="3882816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4200118"/>
            <a:ext cx="5615113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51A1BC8-F720-4AC1-A46F-F1A545A0C4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39" y="4200118"/>
            <a:ext cx="5615113" cy="203686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100118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Charts righ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A1A031-226E-4EC7-A844-90EFFE7AC0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050" y="3882816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4200118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018E7B1-D005-C4FB-F1C0-D32B417720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163" y="1415848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2B9D84F8-0284-3C1D-48B3-B4E92A7470B2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38163" y="1733149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DBF79B-6B2E-30A0-A493-2CC622D403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163" y="3882816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0ACF7FC6-D955-9728-F896-ED79FD7F7A0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38163" y="4200118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92903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Char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415848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3882816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2B9D84F8-0284-3C1D-48B3-B4E92A7470B2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38163" y="1415848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0ACF7FC6-D955-9728-F896-ED79FD7F7A0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38163" y="3882816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1551222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left / 2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FDC05-FC6F-5CD2-1633-BC94D25CB65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8050" y="1415848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A163764-CB0A-9AEF-505C-DB37CA6D292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8050" y="3882816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8D315A-B69B-5A34-6153-2351F6BB5E3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38163" y="1415848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58F4F9A-E527-772E-1B97-F8EC9ADB269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38163" y="3882816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43718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F6E1CD0-5621-4135-BC25-91B182A83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984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F6E1CD0-5621-4135-BC25-91B182A83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9">
            <a:extLst>
              <a:ext uri="{FF2B5EF4-FFF2-40B4-BE49-F238E27FC236}">
                <a16:creationId xmlns:a16="http://schemas.microsoft.com/office/drawing/2014/main" id="{A24D2DC2-7541-40BE-A14E-68814A38A5CA}"/>
              </a:ext>
            </a:extLst>
          </p:cNvPr>
          <p:cNvGrpSpPr/>
          <p:nvPr/>
        </p:nvGrpSpPr>
        <p:grpSpPr bwMode="gray">
          <a:xfrm>
            <a:off x="10990733" y="6486253"/>
            <a:ext cx="864407" cy="184378"/>
            <a:chOff x="10541000" y="6489700"/>
            <a:chExt cx="1301750" cy="252413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7535BF74-CC89-43B3-AC86-71F52F7BB70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41000" y="6489700"/>
              <a:ext cx="117475" cy="249238"/>
            </a:xfrm>
            <a:custGeom>
              <a:avLst/>
              <a:gdLst>
                <a:gd name="T0" fmla="*/ 0 w 512"/>
                <a:gd name="T1" fmla="*/ 1078 h 1078"/>
                <a:gd name="T2" fmla="*/ 68 w 512"/>
                <a:gd name="T3" fmla="*/ 1078 h 1078"/>
                <a:gd name="T4" fmla="*/ 105 w 512"/>
                <a:gd name="T5" fmla="*/ 749 h 1078"/>
                <a:gd name="T6" fmla="*/ 318 w 512"/>
                <a:gd name="T7" fmla="*/ 479 h 1078"/>
                <a:gd name="T8" fmla="*/ 427 w 512"/>
                <a:gd name="T9" fmla="*/ 690 h 1078"/>
                <a:gd name="T10" fmla="*/ 383 w 512"/>
                <a:gd name="T11" fmla="*/ 1078 h 1078"/>
                <a:gd name="T12" fmla="*/ 452 w 512"/>
                <a:gd name="T13" fmla="*/ 1078 h 1078"/>
                <a:gd name="T14" fmla="*/ 496 w 512"/>
                <a:gd name="T15" fmla="*/ 686 h 1078"/>
                <a:gd name="T16" fmla="*/ 327 w 512"/>
                <a:gd name="T17" fmla="*/ 402 h 1078"/>
                <a:gd name="T18" fmla="*/ 132 w 512"/>
                <a:gd name="T19" fmla="*/ 535 h 1078"/>
                <a:gd name="T20" fmla="*/ 129 w 512"/>
                <a:gd name="T21" fmla="*/ 535 h 1078"/>
                <a:gd name="T22" fmla="*/ 189 w 512"/>
                <a:gd name="T23" fmla="*/ 0 h 1078"/>
                <a:gd name="T24" fmla="*/ 121 w 512"/>
                <a:gd name="T25" fmla="*/ 0 h 1078"/>
                <a:gd name="T26" fmla="*/ 0 w 512"/>
                <a:gd name="T27" fmla="*/ 1078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1078">
                  <a:moveTo>
                    <a:pt x="0" y="1078"/>
                  </a:moveTo>
                  <a:cubicBezTo>
                    <a:pt x="68" y="1078"/>
                    <a:pt x="68" y="1078"/>
                    <a:pt x="68" y="1078"/>
                  </a:cubicBezTo>
                  <a:cubicBezTo>
                    <a:pt x="105" y="749"/>
                    <a:pt x="105" y="749"/>
                    <a:pt x="105" y="749"/>
                  </a:cubicBezTo>
                  <a:cubicBezTo>
                    <a:pt x="126" y="568"/>
                    <a:pt x="217" y="479"/>
                    <a:pt x="318" y="479"/>
                  </a:cubicBezTo>
                  <a:cubicBezTo>
                    <a:pt x="426" y="479"/>
                    <a:pt x="439" y="583"/>
                    <a:pt x="427" y="690"/>
                  </a:cubicBezTo>
                  <a:cubicBezTo>
                    <a:pt x="383" y="1078"/>
                    <a:pt x="383" y="1078"/>
                    <a:pt x="383" y="1078"/>
                  </a:cubicBezTo>
                  <a:cubicBezTo>
                    <a:pt x="452" y="1078"/>
                    <a:pt x="452" y="1078"/>
                    <a:pt x="452" y="1078"/>
                  </a:cubicBezTo>
                  <a:cubicBezTo>
                    <a:pt x="496" y="686"/>
                    <a:pt x="496" y="686"/>
                    <a:pt x="496" y="686"/>
                  </a:cubicBezTo>
                  <a:cubicBezTo>
                    <a:pt x="512" y="542"/>
                    <a:pt x="491" y="402"/>
                    <a:pt x="327" y="402"/>
                  </a:cubicBezTo>
                  <a:cubicBezTo>
                    <a:pt x="241" y="402"/>
                    <a:pt x="167" y="462"/>
                    <a:pt x="132" y="535"/>
                  </a:cubicBezTo>
                  <a:cubicBezTo>
                    <a:pt x="129" y="535"/>
                    <a:pt x="129" y="535"/>
                    <a:pt x="129" y="535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0" y="1078"/>
                    <a:pt x="0" y="1078"/>
                    <a:pt x="0" y="107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10D90EE-AAE9-46BF-B6F6-30922D92839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669588" y="6581775"/>
              <a:ext cx="114300" cy="160338"/>
            </a:xfrm>
            <a:custGeom>
              <a:avLst/>
              <a:gdLst>
                <a:gd name="T0" fmla="*/ 479 w 497"/>
                <a:gd name="T1" fmla="*/ 239 h 694"/>
                <a:gd name="T2" fmla="*/ 295 w 497"/>
                <a:gd name="T3" fmla="*/ 0 h 694"/>
                <a:gd name="T4" fmla="*/ 84 w 497"/>
                <a:gd name="T5" fmla="*/ 93 h 694"/>
                <a:gd name="T6" fmla="*/ 117 w 497"/>
                <a:gd name="T7" fmla="*/ 152 h 694"/>
                <a:gd name="T8" fmla="*/ 287 w 497"/>
                <a:gd name="T9" fmla="*/ 77 h 694"/>
                <a:gd name="T10" fmla="*/ 417 w 497"/>
                <a:gd name="T11" fmla="*/ 237 h 694"/>
                <a:gd name="T12" fmla="*/ 413 w 497"/>
                <a:gd name="T13" fmla="*/ 277 h 694"/>
                <a:gd name="T14" fmla="*/ 333 w 497"/>
                <a:gd name="T15" fmla="*/ 277 h 694"/>
                <a:gd name="T16" fmla="*/ 16 w 497"/>
                <a:gd name="T17" fmla="*/ 498 h 694"/>
                <a:gd name="T18" fmla="*/ 180 w 497"/>
                <a:gd name="T19" fmla="*/ 694 h 694"/>
                <a:gd name="T20" fmla="*/ 379 w 497"/>
                <a:gd name="T21" fmla="*/ 569 h 694"/>
                <a:gd name="T22" fmla="*/ 381 w 497"/>
                <a:gd name="T23" fmla="*/ 569 h 694"/>
                <a:gd name="T24" fmla="*/ 376 w 497"/>
                <a:gd name="T25" fmla="*/ 676 h 694"/>
                <a:gd name="T26" fmla="*/ 440 w 497"/>
                <a:gd name="T27" fmla="*/ 676 h 694"/>
                <a:gd name="T28" fmla="*/ 460 w 497"/>
                <a:gd name="T29" fmla="*/ 400 h 694"/>
                <a:gd name="T30" fmla="*/ 479 w 497"/>
                <a:gd name="T31" fmla="*/ 239 h 694"/>
                <a:gd name="T32" fmla="*/ 405 w 497"/>
                <a:gd name="T33" fmla="*/ 346 h 694"/>
                <a:gd name="T34" fmla="*/ 400 w 497"/>
                <a:gd name="T35" fmla="*/ 390 h 694"/>
                <a:gd name="T36" fmla="*/ 191 w 497"/>
                <a:gd name="T37" fmla="*/ 617 h 694"/>
                <a:gd name="T38" fmla="*/ 85 w 497"/>
                <a:gd name="T39" fmla="*/ 494 h 694"/>
                <a:gd name="T40" fmla="*/ 330 w 497"/>
                <a:gd name="T41" fmla="*/ 346 h 694"/>
                <a:gd name="T42" fmla="*/ 405 w 497"/>
                <a:gd name="T43" fmla="*/ 3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7" h="694">
                  <a:moveTo>
                    <a:pt x="479" y="239"/>
                  </a:moveTo>
                  <a:cubicBezTo>
                    <a:pt x="497" y="72"/>
                    <a:pt x="423" y="0"/>
                    <a:pt x="295" y="0"/>
                  </a:cubicBezTo>
                  <a:cubicBezTo>
                    <a:pt x="227" y="0"/>
                    <a:pt x="141" y="33"/>
                    <a:pt x="84" y="93"/>
                  </a:cubicBezTo>
                  <a:cubicBezTo>
                    <a:pt x="117" y="152"/>
                    <a:pt x="117" y="152"/>
                    <a:pt x="117" y="152"/>
                  </a:cubicBezTo>
                  <a:cubicBezTo>
                    <a:pt x="170" y="102"/>
                    <a:pt x="225" y="77"/>
                    <a:pt x="287" y="77"/>
                  </a:cubicBezTo>
                  <a:cubicBezTo>
                    <a:pt x="371" y="77"/>
                    <a:pt x="430" y="123"/>
                    <a:pt x="417" y="237"/>
                  </a:cubicBezTo>
                  <a:cubicBezTo>
                    <a:pt x="413" y="277"/>
                    <a:pt x="413" y="277"/>
                    <a:pt x="413" y="277"/>
                  </a:cubicBezTo>
                  <a:cubicBezTo>
                    <a:pt x="333" y="277"/>
                    <a:pt x="333" y="277"/>
                    <a:pt x="333" y="277"/>
                  </a:cubicBezTo>
                  <a:cubicBezTo>
                    <a:pt x="229" y="277"/>
                    <a:pt x="38" y="297"/>
                    <a:pt x="16" y="498"/>
                  </a:cubicBezTo>
                  <a:cubicBezTo>
                    <a:pt x="0" y="638"/>
                    <a:pt x="90" y="694"/>
                    <a:pt x="180" y="694"/>
                  </a:cubicBezTo>
                  <a:cubicBezTo>
                    <a:pt x="269" y="694"/>
                    <a:pt x="330" y="654"/>
                    <a:pt x="379" y="569"/>
                  </a:cubicBezTo>
                  <a:cubicBezTo>
                    <a:pt x="381" y="569"/>
                    <a:pt x="381" y="569"/>
                    <a:pt x="381" y="569"/>
                  </a:cubicBezTo>
                  <a:cubicBezTo>
                    <a:pt x="377" y="607"/>
                    <a:pt x="375" y="644"/>
                    <a:pt x="376" y="676"/>
                  </a:cubicBezTo>
                  <a:cubicBezTo>
                    <a:pt x="440" y="676"/>
                    <a:pt x="440" y="676"/>
                    <a:pt x="440" y="676"/>
                  </a:cubicBezTo>
                  <a:cubicBezTo>
                    <a:pt x="440" y="601"/>
                    <a:pt x="446" y="528"/>
                    <a:pt x="460" y="400"/>
                  </a:cubicBezTo>
                  <a:cubicBezTo>
                    <a:pt x="479" y="239"/>
                    <a:pt x="479" y="239"/>
                    <a:pt x="479" y="239"/>
                  </a:cubicBezTo>
                  <a:close/>
                  <a:moveTo>
                    <a:pt x="405" y="346"/>
                  </a:moveTo>
                  <a:cubicBezTo>
                    <a:pt x="400" y="390"/>
                    <a:pt x="400" y="390"/>
                    <a:pt x="400" y="390"/>
                  </a:cubicBezTo>
                  <a:cubicBezTo>
                    <a:pt x="388" y="500"/>
                    <a:pt x="337" y="617"/>
                    <a:pt x="191" y="617"/>
                  </a:cubicBezTo>
                  <a:cubicBezTo>
                    <a:pt x="134" y="617"/>
                    <a:pt x="76" y="575"/>
                    <a:pt x="85" y="494"/>
                  </a:cubicBezTo>
                  <a:cubicBezTo>
                    <a:pt x="97" y="381"/>
                    <a:pt x="215" y="346"/>
                    <a:pt x="330" y="346"/>
                  </a:cubicBezTo>
                  <a:cubicBezTo>
                    <a:pt x="405" y="346"/>
                    <a:pt x="405" y="346"/>
                    <a:pt x="405" y="3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30244FEC-458F-4E07-AD3F-27342F1787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796588" y="6581775"/>
              <a:ext cx="117475" cy="157163"/>
            </a:xfrm>
            <a:custGeom>
              <a:avLst/>
              <a:gdLst>
                <a:gd name="T0" fmla="*/ 0 w 512"/>
                <a:gd name="T1" fmla="*/ 676 h 676"/>
                <a:gd name="T2" fmla="*/ 69 w 512"/>
                <a:gd name="T3" fmla="*/ 676 h 676"/>
                <a:gd name="T4" fmla="*/ 106 w 512"/>
                <a:gd name="T5" fmla="*/ 347 h 676"/>
                <a:gd name="T6" fmla="*/ 319 w 512"/>
                <a:gd name="T7" fmla="*/ 77 h 676"/>
                <a:gd name="T8" fmla="*/ 427 w 512"/>
                <a:gd name="T9" fmla="*/ 288 h 676"/>
                <a:gd name="T10" fmla="*/ 384 w 512"/>
                <a:gd name="T11" fmla="*/ 676 h 676"/>
                <a:gd name="T12" fmla="*/ 452 w 512"/>
                <a:gd name="T13" fmla="*/ 676 h 676"/>
                <a:gd name="T14" fmla="*/ 496 w 512"/>
                <a:gd name="T15" fmla="*/ 284 h 676"/>
                <a:gd name="T16" fmla="*/ 327 w 512"/>
                <a:gd name="T17" fmla="*/ 0 h 676"/>
                <a:gd name="T18" fmla="*/ 132 w 512"/>
                <a:gd name="T19" fmla="*/ 133 h 676"/>
                <a:gd name="T20" fmla="*/ 129 w 512"/>
                <a:gd name="T21" fmla="*/ 133 h 676"/>
                <a:gd name="T22" fmla="*/ 137 w 512"/>
                <a:gd name="T23" fmla="*/ 17 h 676"/>
                <a:gd name="T24" fmla="*/ 69 w 512"/>
                <a:gd name="T25" fmla="*/ 17 h 676"/>
                <a:gd name="T26" fmla="*/ 53 w 512"/>
                <a:gd name="T27" fmla="*/ 203 h 676"/>
                <a:gd name="T28" fmla="*/ 0 w 512"/>
                <a:gd name="T29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676">
                  <a:moveTo>
                    <a:pt x="0" y="676"/>
                  </a:moveTo>
                  <a:cubicBezTo>
                    <a:pt x="69" y="676"/>
                    <a:pt x="69" y="676"/>
                    <a:pt x="69" y="676"/>
                  </a:cubicBezTo>
                  <a:cubicBezTo>
                    <a:pt x="106" y="347"/>
                    <a:pt x="106" y="347"/>
                    <a:pt x="106" y="347"/>
                  </a:cubicBezTo>
                  <a:cubicBezTo>
                    <a:pt x="126" y="166"/>
                    <a:pt x="217" y="77"/>
                    <a:pt x="319" y="77"/>
                  </a:cubicBezTo>
                  <a:cubicBezTo>
                    <a:pt x="427" y="77"/>
                    <a:pt x="439" y="181"/>
                    <a:pt x="427" y="288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96" y="284"/>
                    <a:pt x="496" y="284"/>
                    <a:pt x="496" y="284"/>
                  </a:cubicBezTo>
                  <a:cubicBezTo>
                    <a:pt x="512" y="140"/>
                    <a:pt x="492" y="0"/>
                    <a:pt x="327" y="0"/>
                  </a:cubicBezTo>
                  <a:cubicBezTo>
                    <a:pt x="242" y="0"/>
                    <a:pt x="168" y="60"/>
                    <a:pt x="132" y="133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8" y="120"/>
                    <a:pt x="133" y="66"/>
                    <a:pt x="137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5" y="52"/>
                    <a:pt x="59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049337A0-78C6-4389-85AF-FD9FE52F24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28350" y="6581775"/>
              <a:ext cx="117475" cy="157163"/>
            </a:xfrm>
            <a:custGeom>
              <a:avLst/>
              <a:gdLst>
                <a:gd name="T0" fmla="*/ 0 w 512"/>
                <a:gd name="T1" fmla="*/ 676 h 676"/>
                <a:gd name="T2" fmla="*/ 69 w 512"/>
                <a:gd name="T3" fmla="*/ 676 h 676"/>
                <a:gd name="T4" fmla="*/ 106 w 512"/>
                <a:gd name="T5" fmla="*/ 347 h 676"/>
                <a:gd name="T6" fmla="*/ 319 w 512"/>
                <a:gd name="T7" fmla="*/ 77 h 676"/>
                <a:gd name="T8" fmla="*/ 427 w 512"/>
                <a:gd name="T9" fmla="*/ 288 h 676"/>
                <a:gd name="T10" fmla="*/ 384 w 512"/>
                <a:gd name="T11" fmla="*/ 676 h 676"/>
                <a:gd name="T12" fmla="*/ 452 w 512"/>
                <a:gd name="T13" fmla="*/ 676 h 676"/>
                <a:gd name="T14" fmla="*/ 496 w 512"/>
                <a:gd name="T15" fmla="*/ 284 h 676"/>
                <a:gd name="T16" fmla="*/ 327 w 512"/>
                <a:gd name="T17" fmla="*/ 0 h 676"/>
                <a:gd name="T18" fmla="*/ 132 w 512"/>
                <a:gd name="T19" fmla="*/ 133 h 676"/>
                <a:gd name="T20" fmla="*/ 129 w 512"/>
                <a:gd name="T21" fmla="*/ 133 h 676"/>
                <a:gd name="T22" fmla="*/ 137 w 512"/>
                <a:gd name="T23" fmla="*/ 17 h 676"/>
                <a:gd name="T24" fmla="*/ 69 w 512"/>
                <a:gd name="T25" fmla="*/ 17 h 676"/>
                <a:gd name="T26" fmla="*/ 53 w 512"/>
                <a:gd name="T27" fmla="*/ 203 h 676"/>
                <a:gd name="T28" fmla="*/ 0 w 512"/>
                <a:gd name="T29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676">
                  <a:moveTo>
                    <a:pt x="0" y="676"/>
                  </a:moveTo>
                  <a:cubicBezTo>
                    <a:pt x="69" y="676"/>
                    <a:pt x="69" y="676"/>
                    <a:pt x="69" y="676"/>
                  </a:cubicBezTo>
                  <a:cubicBezTo>
                    <a:pt x="106" y="347"/>
                    <a:pt x="106" y="347"/>
                    <a:pt x="106" y="347"/>
                  </a:cubicBezTo>
                  <a:cubicBezTo>
                    <a:pt x="126" y="166"/>
                    <a:pt x="217" y="77"/>
                    <a:pt x="319" y="77"/>
                  </a:cubicBezTo>
                  <a:cubicBezTo>
                    <a:pt x="427" y="77"/>
                    <a:pt x="439" y="181"/>
                    <a:pt x="427" y="288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96" y="284"/>
                    <a:pt x="496" y="284"/>
                    <a:pt x="496" y="284"/>
                  </a:cubicBezTo>
                  <a:cubicBezTo>
                    <a:pt x="512" y="140"/>
                    <a:pt x="492" y="0"/>
                    <a:pt x="327" y="0"/>
                  </a:cubicBezTo>
                  <a:cubicBezTo>
                    <a:pt x="242" y="0"/>
                    <a:pt x="168" y="60"/>
                    <a:pt x="132" y="133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8" y="120"/>
                    <a:pt x="133" y="66"/>
                    <a:pt x="137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5" y="52"/>
                    <a:pt x="59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01EFCF3-AF7B-4A1F-B852-9CDBA2873F4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058525" y="6581775"/>
              <a:ext cx="136525" cy="160338"/>
            </a:xfrm>
            <a:custGeom>
              <a:avLst/>
              <a:gdLst>
                <a:gd name="T0" fmla="*/ 23 w 600"/>
                <a:gd name="T1" fmla="*/ 347 h 694"/>
                <a:gd name="T2" fmla="*/ 261 w 600"/>
                <a:gd name="T3" fmla="*/ 694 h 694"/>
                <a:gd name="T4" fmla="*/ 577 w 600"/>
                <a:gd name="T5" fmla="*/ 347 h 694"/>
                <a:gd name="T6" fmla="*/ 339 w 600"/>
                <a:gd name="T7" fmla="*/ 0 h 694"/>
                <a:gd name="T8" fmla="*/ 23 w 600"/>
                <a:gd name="T9" fmla="*/ 347 h 694"/>
                <a:gd name="T10" fmla="*/ 91 w 600"/>
                <a:gd name="T11" fmla="*/ 347 h 694"/>
                <a:gd name="T12" fmla="*/ 330 w 600"/>
                <a:gd name="T13" fmla="*/ 77 h 694"/>
                <a:gd name="T14" fmla="*/ 509 w 600"/>
                <a:gd name="T15" fmla="*/ 347 h 694"/>
                <a:gd name="T16" fmla="*/ 269 w 600"/>
                <a:gd name="T17" fmla="*/ 617 h 694"/>
                <a:gd name="T18" fmla="*/ 91 w 600"/>
                <a:gd name="T19" fmla="*/ 347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0" h="694">
                  <a:moveTo>
                    <a:pt x="23" y="347"/>
                  </a:moveTo>
                  <a:cubicBezTo>
                    <a:pt x="0" y="548"/>
                    <a:pt x="99" y="694"/>
                    <a:pt x="261" y="694"/>
                  </a:cubicBezTo>
                  <a:cubicBezTo>
                    <a:pt x="423" y="694"/>
                    <a:pt x="554" y="548"/>
                    <a:pt x="577" y="347"/>
                  </a:cubicBezTo>
                  <a:cubicBezTo>
                    <a:pt x="600" y="146"/>
                    <a:pt x="501" y="0"/>
                    <a:pt x="339" y="0"/>
                  </a:cubicBezTo>
                  <a:cubicBezTo>
                    <a:pt x="177" y="0"/>
                    <a:pt x="45" y="146"/>
                    <a:pt x="23" y="347"/>
                  </a:cubicBezTo>
                  <a:close/>
                  <a:moveTo>
                    <a:pt x="91" y="347"/>
                  </a:moveTo>
                  <a:cubicBezTo>
                    <a:pt x="108" y="199"/>
                    <a:pt x="201" y="77"/>
                    <a:pt x="330" y="77"/>
                  </a:cubicBezTo>
                  <a:cubicBezTo>
                    <a:pt x="459" y="77"/>
                    <a:pt x="525" y="199"/>
                    <a:pt x="509" y="347"/>
                  </a:cubicBezTo>
                  <a:cubicBezTo>
                    <a:pt x="492" y="495"/>
                    <a:pt x="398" y="617"/>
                    <a:pt x="269" y="617"/>
                  </a:cubicBezTo>
                  <a:cubicBezTo>
                    <a:pt x="141" y="617"/>
                    <a:pt x="74" y="495"/>
                    <a:pt x="91" y="3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C56F9B65-FA0A-448E-97B0-9F112CB9380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04575" y="6586538"/>
              <a:ext cx="112713" cy="152400"/>
            </a:xfrm>
            <a:custGeom>
              <a:avLst/>
              <a:gdLst>
                <a:gd name="T0" fmla="*/ 20 w 71"/>
                <a:gd name="T1" fmla="*/ 96 h 96"/>
                <a:gd name="T2" fmla="*/ 30 w 71"/>
                <a:gd name="T3" fmla="*/ 96 h 96"/>
                <a:gd name="T4" fmla="*/ 71 w 71"/>
                <a:gd name="T5" fmla="*/ 0 h 96"/>
                <a:gd name="T6" fmla="*/ 61 w 71"/>
                <a:gd name="T7" fmla="*/ 0 h 96"/>
                <a:gd name="T8" fmla="*/ 27 w 71"/>
                <a:gd name="T9" fmla="*/ 82 h 96"/>
                <a:gd name="T10" fmla="*/ 11 w 71"/>
                <a:gd name="T11" fmla="*/ 0 h 96"/>
                <a:gd name="T12" fmla="*/ 0 w 71"/>
                <a:gd name="T13" fmla="*/ 0 h 96"/>
                <a:gd name="T14" fmla="*/ 20 w 71"/>
                <a:gd name="T15" fmla="*/ 96 h 96"/>
                <a:gd name="T16" fmla="*/ 20 w 71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96">
                  <a:moveTo>
                    <a:pt x="20" y="96"/>
                  </a:moveTo>
                  <a:lnTo>
                    <a:pt x="30" y="96"/>
                  </a:lnTo>
                  <a:lnTo>
                    <a:pt x="71" y="0"/>
                  </a:lnTo>
                  <a:lnTo>
                    <a:pt x="61" y="0"/>
                  </a:lnTo>
                  <a:lnTo>
                    <a:pt x="27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0" y="96"/>
                  </a:lnTo>
                  <a:lnTo>
                    <a:pt x="20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EE523609-A3C0-4B15-9A69-4C21448D8E5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309350" y="6581775"/>
              <a:ext cx="127000" cy="160338"/>
            </a:xfrm>
            <a:custGeom>
              <a:avLst/>
              <a:gdLst>
                <a:gd name="T0" fmla="*/ 451 w 556"/>
                <a:gd name="T1" fmla="*/ 500 h 694"/>
                <a:gd name="T2" fmla="*/ 261 w 556"/>
                <a:gd name="T3" fmla="*/ 617 h 694"/>
                <a:gd name="T4" fmla="*/ 89 w 556"/>
                <a:gd name="T5" fmla="*/ 368 h 694"/>
                <a:gd name="T6" fmla="*/ 532 w 556"/>
                <a:gd name="T7" fmla="*/ 368 h 694"/>
                <a:gd name="T8" fmla="*/ 539 w 556"/>
                <a:gd name="T9" fmla="*/ 308 h 694"/>
                <a:gd name="T10" fmla="*/ 326 w 556"/>
                <a:gd name="T11" fmla="*/ 0 h 694"/>
                <a:gd name="T12" fmla="*/ 23 w 556"/>
                <a:gd name="T13" fmla="*/ 346 h 694"/>
                <a:gd name="T14" fmla="*/ 251 w 556"/>
                <a:gd name="T15" fmla="*/ 694 h 694"/>
                <a:gd name="T16" fmla="*/ 495 w 556"/>
                <a:gd name="T17" fmla="*/ 552 h 694"/>
                <a:gd name="T18" fmla="*/ 451 w 556"/>
                <a:gd name="T19" fmla="*/ 500 h 694"/>
                <a:gd name="T20" fmla="*/ 98 w 556"/>
                <a:gd name="T21" fmla="*/ 291 h 694"/>
                <a:gd name="T22" fmla="*/ 314 w 556"/>
                <a:gd name="T23" fmla="*/ 77 h 694"/>
                <a:gd name="T24" fmla="*/ 472 w 556"/>
                <a:gd name="T25" fmla="*/ 291 h 694"/>
                <a:gd name="T26" fmla="*/ 98 w 556"/>
                <a:gd name="T27" fmla="*/ 29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6" h="694">
                  <a:moveTo>
                    <a:pt x="451" y="500"/>
                  </a:moveTo>
                  <a:cubicBezTo>
                    <a:pt x="409" y="571"/>
                    <a:pt x="330" y="617"/>
                    <a:pt x="261" y="617"/>
                  </a:cubicBezTo>
                  <a:cubicBezTo>
                    <a:pt x="101" y="617"/>
                    <a:pt x="81" y="440"/>
                    <a:pt x="89" y="368"/>
                  </a:cubicBezTo>
                  <a:cubicBezTo>
                    <a:pt x="532" y="368"/>
                    <a:pt x="532" y="368"/>
                    <a:pt x="532" y="368"/>
                  </a:cubicBezTo>
                  <a:cubicBezTo>
                    <a:pt x="539" y="308"/>
                    <a:pt x="539" y="308"/>
                    <a:pt x="539" y="308"/>
                  </a:cubicBezTo>
                  <a:cubicBezTo>
                    <a:pt x="556" y="156"/>
                    <a:pt x="488" y="0"/>
                    <a:pt x="326" y="0"/>
                  </a:cubicBezTo>
                  <a:cubicBezTo>
                    <a:pt x="172" y="0"/>
                    <a:pt x="45" y="149"/>
                    <a:pt x="23" y="346"/>
                  </a:cubicBezTo>
                  <a:cubicBezTo>
                    <a:pt x="0" y="549"/>
                    <a:pt x="90" y="694"/>
                    <a:pt x="251" y="694"/>
                  </a:cubicBezTo>
                  <a:cubicBezTo>
                    <a:pt x="345" y="694"/>
                    <a:pt x="430" y="652"/>
                    <a:pt x="495" y="552"/>
                  </a:cubicBezTo>
                  <a:cubicBezTo>
                    <a:pt x="451" y="500"/>
                    <a:pt x="451" y="500"/>
                    <a:pt x="451" y="500"/>
                  </a:cubicBezTo>
                  <a:close/>
                  <a:moveTo>
                    <a:pt x="98" y="291"/>
                  </a:moveTo>
                  <a:cubicBezTo>
                    <a:pt x="102" y="257"/>
                    <a:pt x="164" y="77"/>
                    <a:pt x="314" y="77"/>
                  </a:cubicBezTo>
                  <a:cubicBezTo>
                    <a:pt x="415" y="77"/>
                    <a:pt x="485" y="174"/>
                    <a:pt x="472" y="291"/>
                  </a:cubicBezTo>
                  <a:cubicBezTo>
                    <a:pt x="98" y="291"/>
                    <a:pt x="98" y="291"/>
                    <a:pt x="98" y="29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0B6148F7-B1C1-4737-BB96-353FC39021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44288" y="6581775"/>
              <a:ext cx="80963" cy="157163"/>
            </a:xfrm>
            <a:custGeom>
              <a:avLst/>
              <a:gdLst>
                <a:gd name="T0" fmla="*/ 0 w 350"/>
                <a:gd name="T1" fmla="*/ 676 h 676"/>
                <a:gd name="T2" fmla="*/ 68 w 350"/>
                <a:gd name="T3" fmla="*/ 676 h 676"/>
                <a:gd name="T4" fmla="*/ 108 w 350"/>
                <a:gd name="T5" fmla="*/ 317 h 676"/>
                <a:gd name="T6" fmla="*/ 307 w 350"/>
                <a:gd name="T7" fmla="*/ 86 h 676"/>
                <a:gd name="T8" fmla="*/ 332 w 350"/>
                <a:gd name="T9" fmla="*/ 92 h 676"/>
                <a:gd name="T10" fmla="*/ 350 w 350"/>
                <a:gd name="T11" fmla="*/ 7 h 676"/>
                <a:gd name="T12" fmla="*/ 311 w 350"/>
                <a:gd name="T13" fmla="*/ 0 h 676"/>
                <a:gd name="T14" fmla="*/ 128 w 350"/>
                <a:gd name="T15" fmla="*/ 133 h 676"/>
                <a:gd name="T16" fmla="*/ 136 w 350"/>
                <a:gd name="T17" fmla="*/ 17 h 676"/>
                <a:gd name="T18" fmla="*/ 68 w 350"/>
                <a:gd name="T19" fmla="*/ 17 h 676"/>
                <a:gd name="T20" fmla="*/ 53 w 350"/>
                <a:gd name="T21" fmla="*/ 203 h 676"/>
                <a:gd name="T22" fmla="*/ 0 w 350"/>
                <a:gd name="T23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676">
                  <a:moveTo>
                    <a:pt x="0" y="676"/>
                  </a:moveTo>
                  <a:cubicBezTo>
                    <a:pt x="68" y="676"/>
                    <a:pt x="68" y="676"/>
                    <a:pt x="68" y="676"/>
                  </a:cubicBezTo>
                  <a:cubicBezTo>
                    <a:pt x="108" y="317"/>
                    <a:pt x="108" y="317"/>
                    <a:pt x="108" y="317"/>
                  </a:cubicBezTo>
                  <a:cubicBezTo>
                    <a:pt x="123" y="189"/>
                    <a:pt x="188" y="86"/>
                    <a:pt x="307" y="86"/>
                  </a:cubicBezTo>
                  <a:cubicBezTo>
                    <a:pt x="314" y="86"/>
                    <a:pt x="323" y="87"/>
                    <a:pt x="332" y="92"/>
                  </a:cubicBezTo>
                  <a:cubicBezTo>
                    <a:pt x="350" y="7"/>
                    <a:pt x="350" y="7"/>
                    <a:pt x="350" y="7"/>
                  </a:cubicBezTo>
                  <a:cubicBezTo>
                    <a:pt x="337" y="3"/>
                    <a:pt x="324" y="0"/>
                    <a:pt x="311" y="0"/>
                  </a:cubicBezTo>
                  <a:cubicBezTo>
                    <a:pt x="232" y="0"/>
                    <a:pt x="171" y="56"/>
                    <a:pt x="128" y="133"/>
                  </a:cubicBezTo>
                  <a:cubicBezTo>
                    <a:pt x="127" y="120"/>
                    <a:pt x="132" y="66"/>
                    <a:pt x="136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4" y="52"/>
                    <a:pt x="58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611F1624-588A-49B7-9954-7833229D1F4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566525" y="6575425"/>
              <a:ext cx="107950" cy="163513"/>
            </a:xfrm>
            <a:custGeom>
              <a:avLst/>
              <a:gdLst>
                <a:gd name="T0" fmla="*/ 0 w 469"/>
                <a:gd name="T1" fmla="*/ 710 h 710"/>
                <a:gd name="T2" fmla="*/ 171 w 469"/>
                <a:gd name="T3" fmla="*/ 710 h 710"/>
                <a:gd name="T4" fmla="*/ 203 w 469"/>
                <a:gd name="T5" fmla="*/ 421 h 710"/>
                <a:gd name="T6" fmla="*/ 376 w 469"/>
                <a:gd name="T7" fmla="*/ 188 h 710"/>
                <a:gd name="T8" fmla="*/ 447 w 469"/>
                <a:gd name="T9" fmla="*/ 203 h 710"/>
                <a:gd name="T10" fmla="*/ 469 w 469"/>
                <a:gd name="T11" fmla="*/ 7 h 710"/>
                <a:gd name="T12" fmla="*/ 413 w 469"/>
                <a:gd name="T13" fmla="*/ 0 h 710"/>
                <a:gd name="T14" fmla="*/ 239 w 469"/>
                <a:gd name="T15" fmla="*/ 128 h 710"/>
                <a:gd name="T16" fmla="*/ 236 w 469"/>
                <a:gd name="T17" fmla="*/ 128 h 710"/>
                <a:gd name="T18" fmla="*/ 249 w 469"/>
                <a:gd name="T19" fmla="*/ 17 h 710"/>
                <a:gd name="T20" fmla="*/ 78 w 469"/>
                <a:gd name="T21" fmla="*/ 17 h 710"/>
                <a:gd name="T22" fmla="*/ 0 w 469"/>
                <a:gd name="T23" fmla="*/ 71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9" h="710">
                  <a:moveTo>
                    <a:pt x="0" y="710"/>
                  </a:moveTo>
                  <a:cubicBezTo>
                    <a:pt x="171" y="710"/>
                    <a:pt x="171" y="710"/>
                    <a:pt x="171" y="710"/>
                  </a:cubicBezTo>
                  <a:cubicBezTo>
                    <a:pt x="203" y="421"/>
                    <a:pt x="203" y="421"/>
                    <a:pt x="203" y="421"/>
                  </a:cubicBezTo>
                  <a:cubicBezTo>
                    <a:pt x="219" y="283"/>
                    <a:pt x="245" y="188"/>
                    <a:pt x="376" y="188"/>
                  </a:cubicBezTo>
                  <a:cubicBezTo>
                    <a:pt x="401" y="188"/>
                    <a:pt x="424" y="194"/>
                    <a:pt x="447" y="203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54" y="2"/>
                    <a:pt x="432" y="0"/>
                    <a:pt x="413" y="0"/>
                  </a:cubicBezTo>
                  <a:cubicBezTo>
                    <a:pt x="337" y="0"/>
                    <a:pt x="284" y="44"/>
                    <a:pt x="239" y="128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49" y="17"/>
                    <a:pt x="249" y="17"/>
                    <a:pt x="249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0" y="710"/>
                    <a:pt x="0" y="710"/>
                    <a:pt x="0" y="710"/>
                  </a:cubicBezTo>
                  <a:close/>
                </a:path>
              </a:pathLst>
            </a:custGeom>
            <a:solidFill>
              <a:srgbClr val="005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10209CA3-BE0C-4986-B0E7-B223B1A38B6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655425" y="6575425"/>
              <a:ext cx="141288" cy="166688"/>
            </a:xfrm>
            <a:custGeom>
              <a:avLst/>
              <a:gdLst>
                <a:gd name="T0" fmla="*/ 434 w 618"/>
                <a:gd name="T1" fmla="*/ 481 h 728"/>
                <a:gd name="T2" fmla="*/ 303 w 618"/>
                <a:gd name="T3" fmla="*/ 565 h 728"/>
                <a:gd name="T4" fmla="*/ 189 w 618"/>
                <a:gd name="T5" fmla="*/ 431 h 728"/>
                <a:gd name="T6" fmla="*/ 586 w 618"/>
                <a:gd name="T7" fmla="*/ 431 h 728"/>
                <a:gd name="T8" fmla="*/ 593 w 618"/>
                <a:gd name="T9" fmla="*/ 364 h 728"/>
                <a:gd name="T10" fmla="*/ 374 w 618"/>
                <a:gd name="T11" fmla="*/ 0 h 728"/>
                <a:gd name="T12" fmla="*/ 25 w 618"/>
                <a:gd name="T13" fmla="*/ 364 h 728"/>
                <a:gd name="T14" fmla="*/ 292 w 618"/>
                <a:gd name="T15" fmla="*/ 728 h 728"/>
                <a:gd name="T16" fmla="*/ 542 w 618"/>
                <a:gd name="T17" fmla="*/ 591 h 728"/>
                <a:gd name="T18" fmla="*/ 434 w 618"/>
                <a:gd name="T19" fmla="*/ 481 h 728"/>
                <a:gd name="T20" fmla="*/ 205 w 618"/>
                <a:gd name="T21" fmla="*/ 285 h 728"/>
                <a:gd name="T22" fmla="*/ 341 w 618"/>
                <a:gd name="T23" fmla="*/ 154 h 728"/>
                <a:gd name="T24" fmla="*/ 431 w 618"/>
                <a:gd name="T25" fmla="*/ 285 h 728"/>
                <a:gd name="T26" fmla="*/ 205 w 618"/>
                <a:gd name="T27" fmla="*/ 285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8" h="728">
                  <a:moveTo>
                    <a:pt x="434" y="481"/>
                  </a:moveTo>
                  <a:cubicBezTo>
                    <a:pt x="400" y="529"/>
                    <a:pt x="359" y="565"/>
                    <a:pt x="303" y="565"/>
                  </a:cubicBezTo>
                  <a:cubicBezTo>
                    <a:pt x="237" y="565"/>
                    <a:pt x="193" y="512"/>
                    <a:pt x="189" y="431"/>
                  </a:cubicBezTo>
                  <a:cubicBezTo>
                    <a:pt x="586" y="431"/>
                    <a:pt x="586" y="431"/>
                    <a:pt x="586" y="431"/>
                  </a:cubicBezTo>
                  <a:cubicBezTo>
                    <a:pt x="593" y="364"/>
                    <a:pt x="593" y="364"/>
                    <a:pt x="593" y="364"/>
                  </a:cubicBezTo>
                  <a:cubicBezTo>
                    <a:pt x="618" y="143"/>
                    <a:pt x="534" y="0"/>
                    <a:pt x="374" y="0"/>
                  </a:cubicBezTo>
                  <a:cubicBezTo>
                    <a:pt x="203" y="0"/>
                    <a:pt x="50" y="143"/>
                    <a:pt x="25" y="364"/>
                  </a:cubicBezTo>
                  <a:cubicBezTo>
                    <a:pt x="0" y="585"/>
                    <a:pt x="121" y="728"/>
                    <a:pt x="292" y="728"/>
                  </a:cubicBezTo>
                  <a:cubicBezTo>
                    <a:pt x="381" y="728"/>
                    <a:pt x="477" y="678"/>
                    <a:pt x="542" y="591"/>
                  </a:cubicBezTo>
                  <a:cubicBezTo>
                    <a:pt x="434" y="481"/>
                    <a:pt x="434" y="481"/>
                    <a:pt x="434" y="481"/>
                  </a:cubicBezTo>
                  <a:close/>
                  <a:moveTo>
                    <a:pt x="205" y="285"/>
                  </a:moveTo>
                  <a:cubicBezTo>
                    <a:pt x="217" y="218"/>
                    <a:pt x="266" y="154"/>
                    <a:pt x="341" y="154"/>
                  </a:cubicBezTo>
                  <a:cubicBezTo>
                    <a:pt x="402" y="154"/>
                    <a:pt x="440" y="214"/>
                    <a:pt x="431" y="285"/>
                  </a:cubicBezTo>
                  <a:cubicBezTo>
                    <a:pt x="205" y="285"/>
                    <a:pt x="205" y="285"/>
                    <a:pt x="205" y="285"/>
                  </a:cubicBezTo>
                  <a:close/>
                </a:path>
              </a:pathLst>
            </a:custGeom>
            <a:solidFill>
              <a:srgbClr val="005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4" name="Oval 15">
              <a:extLst>
                <a:ext uri="{FF2B5EF4-FFF2-40B4-BE49-F238E27FC236}">
                  <a16:creationId xmlns:a16="http://schemas.microsoft.com/office/drawing/2014/main" id="{10DCC919-13DC-465F-A398-F77F716D90A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1791950" y="6527800"/>
              <a:ext cx="50800" cy="50800"/>
            </a:xfrm>
            <a:prstGeom prst="ellipse">
              <a:avLst/>
            </a:prstGeom>
            <a:noFill/>
            <a:ln w="1588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C136DFB1-87F0-42F1-905C-3267805B252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811000" y="6540500"/>
              <a:ext cx="15875" cy="23813"/>
            </a:xfrm>
            <a:custGeom>
              <a:avLst/>
              <a:gdLst>
                <a:gd name="T0" fmla="*/ 9 w 66"/>
                <a:gd name="T1" fmla="*/ 8 h 101"/>
                <a:gd name="T2" fmla="*/ 29 w 66"/>
                <a:gd name="T3" fmla="*/ 8 h 101"/>
                <a:gd name="T4" fmla="*/ 53 w 66"/>
                <a:gd name="T5" fmla="*/ 26 h 101"/>
                <a:gd name="T6" fmla="*/ 29 w 66"/>
                <a:gd name="T7" fmla="*/ 44 h 101"/>
                <a:gd name="T8" fmla="*/ 9 w 66"/>
                <a:gd name="T9" fmla="*/ 44 h 101"/>
                <a:gd name="T10" fmla="*/ 9 w 66"/>
                <a:gd name="T11" fmla="*/ 8 h 101"/>
                <a:gd name="T12" fmla="*/ 0 w 66"/>
                <a:gd name="T13" fmla="*/ 101 h 101"/>
                <a:gd name="T14" fmla="*/ 9 w 66"/>
                <a:gd name="T15" fmla="*/ 101 h 101"/>
                <a:gd name="T16" fmla="*/ 9 w 66"/>
                <a:gd name="T17" fmla="*/ 53 h 101"/>
                <a:gd name="T18" fmla="*/ 27 w 66"/>
                <a:gd name="T19" fmla="*/ 53 h 101"/>
                <a:gd name="T20" fmla="*/ 55 w 66"/>
                <a:gd name="T21" fmla="*/ 101 h 101"/>
                <a:gd name="T22" fmla="*/ 66 w 66"/>
                <a:gd name="T23" fmla="*/ 101 h 101"/>
                <a:gd name="T24" fmla="*/ 37 w 66"/>
                <a:gd name="T25" fmla="*/ 52 h 101"/>
                <a:gd name="T26" fmla="*/ 62 w 66"/>
                <a:gd name="T27" fmla="*/ 26 h 101"/>
                <a:gd name="T28" fmla="*/ 27 w 66"/>
                <a:gd name="T29" fmla="*/ 0 h 101"/>
                <a:gd name="T30" fmla="*/ 0 w 66"/>
                <a:gd name="T31" fmla="*/ 0 h 101"/>
                <a:gd name="T32" fmla="*/ 0 w 66"/>
                <a:gd name="T3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01">
                  <a:moveTo>
                    <a:pt x="9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49" y="8"/>
                    <a:pt x="53" y="19"/>
                    <a:pt x="53" y="26"/>
                  </a:cubicBezTo>
                  <a:cubicBezTo>
                    <a:pt x="53" y="33"/>
                    <a:pt x="49" y="44"/>
                    <a:pt x="2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8"/>
                    <a:pt x="9" y="8"/>
                    <a:pt x="9" y="8"/>
                  </a:cubicBezTo>
                  <a:close/>
                  <a:moveTo>
                    <a:pt x="0" y="101"/>
                  </a:moveTo>
                  <a:cubicBezTo>
                    <a:pt x="9" y="101"/>
                    <a:pt x="9" y="101"/>
                    <a:pt x="9" y="101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48" y="51"/>
                    <a:pt x="62" y="45"/>
                    <a:pt x="62" y="26"/>
                  </a:cubicBezTo>
                  <a:cubicBezTo>
                    <a:pt x="62" y="0"/>
                    <a:pt x="34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1"/>
                    <a:pt x="0" y="101"/>
                    <a:pt x="0" y="10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</p:grpSp>
      <p:sp>
        <p:nvSpPr>
          <p:cNvPr id="46" name="Footer Placeholder 21">
            <a:extLst>
              <a:ext uri="{FF2B5EF4-FFF2-40B4-BE49-F238E27FC236}">
                <a16:creationId xmlns:a16="http://schemas.microsoft.com/office/drawing/2014/main" id="{B0DD7E69-3A1D-40AF-A011-4A08DF7232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25424" y="6548626"/>
            <a:ext cx="9771512" cy="14396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Slide Number Placeholder 22">
            <a:extLst>
              <a:ext uri="{FF2B5EF4-FFF2-40B4-BE49-F238E27FC236}">
                <a16:creationId xmlns:a16="http://schemas.microsoft.com/office/drawing/2014/main" id="{8EDF68A9-2029-469B-8096-9D014BADC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36860" y="6548626"/>
            <a:ext cx="232021" cy="1439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C4C30C8-FAFD-4808-9188-F9C69D671086}" type="slidenum">
              <a:rPr lang="en-GB" smtClean="0"/>
              <a:t>‹#›</a:t>
            </a:fld>
            <a:endParaRPr lang="en-GB"/>
          </a:p>
        </p:txBody>
      </p:sp>
      <p:cxnSp>
        <p:nvCxnSpPr>
          <p:cNvPr id="48" name="Gerade Verbindung 16">
            <a:extLst>
              <a:ext uri="{FF2B5EF4-FFF2-40B4-BE49-F238E27FC236}">
                <a16:creationId xmlns:a16="http://schemas.microsoft.com/office/drawing/2014/main" id="{35AE07F4-DE9A-497D-8224-484D2907B1C9}"/>
              </a:ext>
            </a:extLst>
          </p:cNvPr>
          <p:cNvCxnSpPr>
            <a:cxnSpLocks/>
          </p:cNvCxnSpPr>
          <p:nvPr/>
        </p:nvCxnSpPr>
        <p:spPr bwMode="gray">
          <a:xfrm>
            <a:off x="336860" y="6492776"/>
            <a:ext cx="1047437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94B198E-A4B8-4A4A-A2F2-223A5F9D70D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9977" tIns="46788" rIns="89977" bIns="467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5935" marR="0" indent="-215935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94EADE6-C2D8-4335-99C8-483FED631D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88262" y="3244755"/>
            <a:ext cx="2015475" cy="36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612629"/>
      </p:ext>
    </p:extLst>
  </p:cSld>
  <p:clrMapOvr>
    <a:masterClrMapping/>
  </p:clrMapOvr>
  <p:transition spd="slow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EA64E901-630E-48C6-8439-5BFD60646D2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7" tIns="46788" rIns="89977" bIns="467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664" marR="0" indent="-285664" algn="ct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itchFamily="18" charset="2"/>
              <a:buChar char="u"/>
              <a:tabLst/>
            </a:pPr>
            <a:endParaRPr kumimoji="0" lang="en-GB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ChapterNo">
            <a:extLst>
              <a:ext uri="{FF2B5EF4-FFF2-40B4-BE49-F238E27FC236}">
                <a16:creationId xmlns:a16="http://schemas.microsoft.com/office/drawing/2014/main" id="{A8350DAF-2E33-40F7-818B-A284D0FB0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1368" y="1989333"/>
            <a:ext cx="1871513" cy="2735367"/>
          </a:xfrm>
        </p:spPr>
        <p:txBody>
          <a:bodyPr wrap="none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994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5pPr>
            <a:lvl6pPr marL="0" indent="0">
              <a:buNone/>
              <a:defRPr sz="21594" b="1">
                <a:solidFill>
                  <a:schemeClr val="bg1"/>
                </a:solidFill>
              </a:defRPr>
            </a:lvl6pPr>
            <a:lvl7pPr marL="0" indent="0">
              <a:buNone/>
              <a:defRPr sz="21594" b="1">
                <a:solidFill>
                  <a:schemeClr val="bg1"/>
                </a:solidFill>
              </a:defRPr>
            </a:lvl7pPr>
            <a:lvl8pPr marL="0" indent="0">
              <a:buNone/>
              <a:defRPr sz="21594" b="1">
                <a:solidFill>
                  <a:schemeClr val="bg1"/>
                </a:solidFill>
              </a:defRPr>
            </a:lvl8pPr>
            <a:lvl9pPr marL="0" indent="0">
              <a:buNone/>
              <a:defRPr sz="21594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4" name="Chapter">
            <a:extLst>
              <a:ext uri="{FF2B5EF4-FFF2-40B4-BE49-F238E27FC236}">
                <a16:creationId xmlns:a16="http://schemas.microsoft.com/office/drawing/2014/main" id="{285CD8BF-4766-4A4B-BE02-F4C041D4A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784863" y="3644530"/>
            <a:ext cx="9069089" cy="792237"/>
          </a:xfrm>
        </p:spPr>
        <p:txBody>
          <a:bodyPr/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GB"/>
              <a:t>Chapter</a:t>
            </a:r>
            <a:endParaRPr lang="en-GB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A56D7691-916B-4E7F-8FFE-A9293A46C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9837284" y="6281743"/>
            <a:ext cx="2015475" cy="367646"/>
          </a:xfrm>
          <a:prstGeom prst="rect">
            <a:avLst/>
          </a:prstGeom>
        </p:spPr>
      </p:pic>
      <p:sp>
        <p:nvSpPr>
          <p:cNvPr id="28" name="Line">
            <a:extLst>
              <a:ext uri="{FF2B5EF4-FFF2-40B4-BE49-F238E27FC236}">
                <a16:creationId xmlns:a16="http://schemas.microsoft.com/office/drawing/2014/main" id="{457A2F49-4186-4DDA-B4D8-F87A6FC7D6CA}"/>
              </a:ext>
            </a:extLst>
          </p:cNvPr>
          <p:cNvSpPr/>
          <p:nvPr/>
        </p:nvSpPr>
        <p:spPr bwMode="gray">
          <a:xfrm>
            <a:off x="916472" y="4607832"/>
            <a:ext cx="10937480" cy="435213"/>
          </a:xfrm>
          <a:custGeom>
            <a:avLst/>
            <a:gdLst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7" fmla="*/ 91440 w 10940329"/>
              <a:gd name="connsiteY7" fmla="*/ 91440 h 1748787"/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0" fmla="*/ 10940328 w 10940328"/>
              <a:gd name="connsiteY0" fmla="*/ 0 h 1748787"/>
              <a:gd name="connsiteX1" fmla="*/ 10940328 w 10940328"/>
              <a:gd name="connsiteY1" fmla="*/ 1313473 h 1748787"/>
              <a:gd name="connsiteX2" fmla="*/ 1709251 w 10940328"/>
              <a:gd name="connsiteY2" fmla="*/ 1313473 h 1748787"/>
              <a:gd name="connsiteX3" fmla="*/ 1818184 w 10940328"/>
              <a:gd name="connsiteY3" fmla="*/ 1748787 h 1748787"/>
              <a:gd name="connsiteX4" fmla="*/ 838622 w 10940328"/>
              <a:gd name="connsiteY4" fmla="*/ 1313473 h 1748787"/>
              <a:gd name="connsiteX5" fmla="*/ 0 w 10940328"/>
              <a:gd name="connsiteY5" fmla="*/ 1313473 h 1748787"/>
              <a:gd name="connsiteX0" fmla="*/ 10940328 w 10940328"/>
              <a:gd name="connsiteY0" fmla="*/ 0 h 435314"/>
              <a:gd name="connsiteX1" fmla="*/ 1709251 w 10940328"/>
              <a:gd name="connsiteY1" fmla="*/ 0 h 435314"/>
              <a:gd name="connsiteX2" fmla="*/ 1818184 w 10940328"/>
              <a:gd name="connsiteY2" fmla="*/ 435314 h 435314"/>
              <a:gd name="connsiteX3" fmla="*/ 838622 w 10940328"/>
              <a:gd name="connsiteY3" fmla="*/ 0 h 435314"/>
              <a:gd name="connsiteX4" fmla="*/ 0 w 10940328"/>
              <a:gd name="connsiteY4" fmla="*/ 0 h 43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40328" h="435314">
                <a:moveTo>
                  <a:pt x="10940328" y="0"/>
                </a:moveTo>
                <a:lnTo>
                  <a:pt x="1709251" y="0"/>
                </a:lnTo>
                <a:lnTo>
                  <a:pt x="1818184" y="435314"/>
                </a:lnTo>
                <a:lnTo>
                  <a:pt x="838622" y="0"/>
                </a:lnTo>
                <a:lnTo>
                  <a:pt x="0" y="0"/>
                </a:lnTo>
              </a:path>
            </a:pathLst>
          </a:custGeom>
          <a:noFill/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 sz="1799" dirty="0"/>
          </a:p>
        </p:txBody>
      </p:sp>
      <p:pic>
        <p:nvPicPr>
          <p:cNvPr id="2" name="TitleClaim">
            <a:extLst>
              <a:ext uri="{FF2B5EF4-FFF2-40B4-BE49-F238E27FC236}">
                <a16:creationId xmlns:a16="http://schemas.microsoft.com/office/drawing/2014/main" id="{472B208D-F431-D27E-CCD1-4030ADBD32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10448765" y="333825"/>
            <a:ext cx="1410287" cy="706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24130475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5F167812-6CA8-44CE-ACE4-8D3D8174E0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26" name="Callout">
            <a:extLst>
              <a:ext uri="{FF2B5EF4-FFF2-40B4-BE49-F238E27FC236}">
                <a16:creationId xmlns:a16="http://schemas.microsoft.com/office/drawing/2014/main" id="{8A98332B-4447-48F6-B10E-E0FB711210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8051" y="2565201"/>
            <a:ext cx="6047038" cy="3096116"/>
          </a:xfrm>
          <a:custGeom>
            <a:avLst/>
            <a:gdLst>
              <a:gd name="connsiteX0" fmla="*/ 0 w 6048613"/>
              <a:gd name="connsiteY0" fmla="*/ 0 h 3096833"/>
              <a:gd name="connsiteX1" fmla="*/ 6048613 w 6048613"/>
              <a:gd name="connsiteY1" fmla="*/ 0 h 3096833"/>
              <a:gd name="connsiteX2" fmla="*/ 6048613 w 6048613"/>
              <a:gd name="connsiteY2" fmla="*/ 2663861 h 3096833"/>
              <a:gd name="connsiteX3" fmla="*/ 1709068 w 6048613"/>
              <a:gd name="connsiteY3" fmla="*/ 2663861 h 3096833"/>
              <a:gd name="connsiteX4" fmla="*/ 1818304 w 6048613"/>
              <a:gd name="connsiteY4" fmla="*/ 3096833 h 3096833"/>
              <a:gd name="connsiteX5" fmla="*/ 836007 w 6048613"/>
              <a:gd name="connsiteY5" fmla="*/ 2663861 h 3096833"/>
              <a:gd name="connsiteX6" fmla="*/ 0 w 6048613"/>
              <a:gd name="connsiteY6" fmla="*/ 2663861 h 3096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8613" h="3096833">
                <a:moveTo>
                  <a:pt x="0" y="0"/>
                </a:moveTo>
                <a:lnTo>
                  <a:pt x="6048613" y="0"/>
                </a:lnTo>
                <a:lnTo>
                  <a:pt x="6048613" y="2663861"/>
                </a:lnTo>
                <a:lnTo>
                  <a:pt x="1709068" y="2663861"/>
                </a:lnTo>
                <a:lnTo>
                  <a:pt x="1818304" y="3096833"/>
                </a:lnTo>
                <a:lnTo>
                  <a:pt x="836007" y="2663861"/>
                </a:lnTo>
                <a:lnTo>
                  <a:pt x="0" y="266386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30" name="Logo">
            <a:extLst>
              <a:ext uri="{FF2B5EF4-FFF2-40B4-BE49-F238E27FC236}">
                <a16:creationId xmlns:a16="http://schemas.microsoft.com/office/drawing/2014/main" id="{7CE3DE3D-B30D-4243-A69B-48627DF592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39310" y="6281743"/>
            <a:ext cx="2014641" cy="36764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00"/>
            </a:lvl9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48" name="ChapterNo">
            <a:extLst>
              <a:ext uri="{FF2B5EF4-FFF2-40B4-BE49-F238E27FC236}">
                <a16:creationId xmlns:a16="http://schemas.microsoft.com/office/drawing/2014/main" id="{A8350DAF-2E33-40F7-818B-A284D0FB0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5424" y="2565200"/>
            <a:ext cx="1511606" cy="2447433"/>
          </a:xfrm>
        </p:spPr>
        <p:txBody>
          <a:bodyPr wrap="none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5pPr>
            <a:lvl6pPr marL="0" indent="0">
              <a:buNone/>
              <a:defRPr sz="17995" b="1">
                <a:solidFill>
                  <a:schemeClr val="accent2"/>
                </a:solidFill>
              </a:defRPr>
            </a:lvl6pPr>
            <a:lvl7pPr marL="0" indent="0">
              <a:buNone/>
              <a:defRPr sz="17995" b="1">
                <a:solidFill>
                  <a:schemeClr val="accent2"/>
                </a:solidFill>
              </a:defRPr>
            </a:lvl7pPr>
            <a:lvl8pPr marL="0" indent="0">
              <a:buNone/>
              <a:defRPr sz="17995" b="1">
                <a:solidFill>
                  <a:schemeClr val="accent2"/>
                </a:solidFill>
              </a:defRPr>
            </a:lvl8pPr>
            <a:lvl9pPr marL="0" indent="0">
              <a:buNone/>
              <a:defRPr sz="17995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/>
              <a:t>0</a:t>
            </a:r>
            <a:endParaRPr lang="en-GB" dirty="0"/>
          </a:p>
        </p:txBody>
      </p:sp>
      <p:sp>
        <p:nvSpPr>
          <p:cNvPr id="4" name="Chapter">
            <a:extLst>
              <a:ext uri="{FF2B5EF4-FFF2-40B4-BE49-F238E27FC236}">
                <a16:creationId xmlns:a16="http://schemas.microsoft.com/office/drawing/2014/main" id="{EEC36A0B-257F-40AD-9B08-735F87F78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993068" y="3141067"/>
            <a:ext cx="4102932" cy="1583633"/>
          </a:xfrm>
        </p:spPr>
        <p:txBody>
          <a:bodyPr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GB"/>
              <a:t>Current Chapter</a:t>
            </a:r>
            <a:endParaRPr lang="en-GB" dirty="0"/>
          </a:p>
        </p:txBody>
      </p:sp>
      <p:sp>
        <p:nvSpPr>
          <p:cNvPr id="8" name="Claim">
            <a:extLst>
              <a:ext uri="{FF2B5EF4-FFF2-40B4-BE49-F238E27FC236}">
                <a16:creationId xmlns:a16="http://schemas.microsoft.com/office/drawing/2014/main" id="{F5851DBA-4BDF-4895-9956-EA4493F576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46205" y="334016"/>
            <a:ext cx="1409333" cy="701588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/>
            </a:lvl1pPr>
            <a:lvl2pPr marL="0" indent="0">
              <a:buNone/>
              <a:defRPr sz="100"/>
            </a:lvl2pPr>
            <a:lvl3pPr marL="0" indent="0">
              <a:buNone/>
              <a:defRPr sz="100"/>
            </a:lvl3pPr>
            <a:lvl4pPr marL="0" indent="0">
              <a:buNone/>
              <a:defRPr sz="100"/>
            </a:lvl4pPr>
            <a:lvl5pPr marL="0" indent="0">
              <a:buNone/>
              <a:defRPr sz="100"/>
            </a:lvl5pPr>
            <a:lvl6pPr marL="0" indent="0">
              <a:buNone/>
              <a:defRPr sz="100"/>
            </a:lvl6pPr>
            <a:lvl7pPr marL="0" indent="0">
              <a:buNone/>
              <a:defRPr sz="100"/>
            </a:lvl7pPr>
            <a:lvl8pPr marL="0" indent="0">
              <a:buNone/>
              <a:defRPr sz="100"/>
            </a:lvl8pPr>
            <a:lvl9pPr marL="0" indent="0">
              <a:buNone/>
              <a:defRPr sz="100"/>
            </a:lvl9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9013346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">
            <a:extLst>
              <a:ext uri="{FF2B5EF4-FFF2-40B4-BE49-F238E27FC236}">
                <a16:creationId xmlns:a16="http://schemas.microsoft.com/office/drawing/2014/main" id="{D59064B4-0B5E-401B-9504-2B58CDCA50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338050" y="1414136"/>
            <a:ext cx="11515901" cy="482329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8D8F4FE-3E00-42E8-B4B4-118874EE7F8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105742"/>
      </p:ext>
    </p:extLst>
  </p:cSld>
  <p:clrMapOvr>
    <a:masterClrMapping/>
  </p:clrMapOvr>
  <p:transition spd="slow"/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Content">
            <a:extLst>
              <a:ext uri="{FF2B5EF4-FFF2-40B4-BE49-F238E27FC236}">
                <a16:creationId xmlns:a16="http://schemas.microsoft.com/office/drawing/2014/main" id="{FBE7C0FD-EB25-F76D-18F8-955248265A1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38050" y="1414136"/>
            <a:ext cx="5613526" cy="48232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9" name="RightContent">
            <a:extLst>
              <a:ext uri="{FF2B5EF4-FFF2-40B4-BE49-F238E27FC236}">
                <a16:creationId xmlns:a16="http://schemas.microsoft.com/office/drawing/2014/main" id="{D51C22A4-F5B7-4D30-8A0D-421CE4DFDC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425" y="1414136"/>
            <a:ext cx="5613526" cy="48232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15CAAB6-915B-47F4-A0AF-31A6657043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5116801"/>
      </p:ext>
    </p:extLst>
  </p:cSld>
  <p:clrMapOvr>
    <a:masterClrMapping/>
  </p:clrMapOvr>
  <p:transition spd="slow"/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7999F217-8BD8-46CA-A254-D462E5022A4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5824241"/>
      </p:ext>
    </p:extLst>
  </p:cSld>
  <p:clrMapOvr>
    <a:masterClrMapping/>
  </p:clrMapOvr>
  <p:transition spd="slow"/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Content">
            <a:extLst>
              <a:ext uri="{FF2B5EF4-FFF2-40B4-BE49-F238E27FC236}">
                <a16:creationId xmlns:a16="http://schemas.microsoft.com/office/drawing/2014/main" id="{D59064B4-0B5E-401B-9504-2B58CDCA50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338050" y="1414136"/>
            <a:ext cx="5615113" cy="482329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14" name="RightPicture">
            <a:extLst>
              <a:ext uri="{FF2B5EF4-FFF2-40B4-BE49-F238E27FC236}">
                <a16:creationId xmlns:a16="http://schemas.microsoft.com/office/drawing/2014/main" id="{975F041B-B096-4425-A89B-666CE32C3FE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425" y="1414136"/>
            <a:ext cx="5613526" cy="4823296"/>
          </a:xfrm>
          <a:solidFill>
            <a:srgbClr val="F1F4F6"/>
          </a:solidFill>
        </p:spPr>
        <p:txBody>
          <a:bodyPr bIns="684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0"/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  <a:lvl6pPr marL="0" indent="0" algn="ctr">
              <a:buNone/>
              <a:defRPr sz="1200"/>
            </a:lvl6pPr>
            <a:lvl7pPr marL="0" indent="0" algn="ctr">
              <a:buNone/>
              <a:defRPr sz="1200"/>
            </a:lvl7pPr>
            <a:lvl8pPr marL="0" indent="0" algn="ctr">
              <a:buNone/>
              <a:defRPr sz="1200"/>
            </a:lvl8pPr>
            <a:lvl9pPr marL="0" indent="0" algn="ctr">
              <a:buNone/>
              <a:defRPr sz="1200"/>
            </a:lvl9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00F5D10-9A5E-44E7-9F0B-DD924A9DAD5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6214641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">
            <a:extLst>
              <a:ext uri="{FF2B5EF4-FFF2-40B4-BE49-F238E27FC236}">
                <a16:creationId xmlns:a16="http://schemas.microsoft.com/office/drawing/2014/main" id="{74A81EB5-68BA-4D47-BF69-505EC1CC093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38050" y="333298"/>
            <a:ext cx="11515901" cy="5904133"/>
          </a:xfrm>
          <a:solidFill>
            <a:schemeClr val="bg1">
              <a:lumMod val="95000"/>
            </a:schemeClr>
          </a:solidFill>
        </p:spPr>
        <p:txBody>
          <a:bodyPr bIns="684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0"/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  <a:lvl6pPr marL="0" indent="0" algn="ctr">
              <a:buNone/>
              <a:defRPr sz="1200"/>
            </a:lvl6pPr>
            <a:lvl7pPr marL="0" indent="0" algn="ctr">
              <a:buNone/>
              <a:defRPr sz="1200"/>
            </a:lvl7pPr>
            <a:lvl8pPr marL="0" indent="0" algn="ctr">
              <a:buNone/>
              <a:defRPr sz="1200"/>
            </a:lvl8pPr>
            <a:lvl9pPr marL="0" indent="0" algn="ctr">
              <a:buNone/>
              <a:defRPr sz="1200"/>
            </a:lvl9pPr>
          </a:lstStyle>
          <a:p>
            <a:r>
              <a:rPr lang="en-GB"/>
              <a:t>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4774251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6575B61-2198-436C-A98C-A4D9B87DD9D9}"/>
              </a:ext>
            </a:extLst>
          </p:cNvPr>
          <p:cNvSpPr/>
          <p:nvPr/>
        </p:nvSpPr>
        <p:spPr bwMode="gray">
          <a:xfrm>
            <a:off x="0" y="0"/>
            <a:ext cx="12192000" cy="623743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77" tIns="46788" rIns="89977" bIns="46788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126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3" name="HeaderLine">
            <a:extLst>
              <a:ext uri="{FF2B5EF4-FFF2-40B4-BE49-F238E27FC236}">
                <a16:creationId xmlns:a16="http://schemas.microsoft.com/office/drawing/2014/main" id="{4CBB7436-AE5B-4128-89FA-5FD53E80F035}"/>
              </a:ext>
            </a:extLst>
          </p:cNvPr>
          <p:cNvSpPr/>
          <p:nvPr/>
        </p:nvSpPr>
        <p:spPr bwMode="gray">
          <a:xfrm>
            <a:off x="338050" y="333717"/>
            <a:ext cx="935756" cy="5714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7" tIns="46788" rIns="89977" bIns="467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664" marR="0" indent="-285664" algn="ct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itchFamily="18" charset="2"/>
              <a:buChar char="u"/>
              <a:tabLst/>
            </a:pPr>
            <a:endParaRPr kumimoji="0" lang="en-GB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4" name="GridLeft">
            <a:extLst>
              <a:ext uri="{FF2B5EF4-FFF2-40B4-BE49-F238E27FC236}">
                <a16:creationId xmlns:a16="http://schemas.microsoft.com/office/drawing/2014/main" id="{425031A2-E0D5-4FB9-AF38-DCEA20EC1E7F}"/>
              </a:ext>
            </a:extLst>
          </p:cNvPr>
          <p:cNvGrpSpPr/>
          <p:nvPr/>
        </p:nvGrpSpPr>
        <p:grpSpPr bwMode="gray">
          <a:xfrm>
            <a:off x="-192664" y="332579"/>
            <a:ext cx="96001" cy="5904083"/>
            <a:chOff x="-192714" y="332656"/>
            <a:chExt cx="96026" cy="5905450"/>
          </a:xfrm>
        </p:grpSpPr>
        <p:cxnSp>
          <p:nvCxnSpPr>
            <p:cNvPr id="27" name="Gerade Verbindung 77">
              <a:extLst>
                <a:ext uri="{FF2B5EF4-FFF2-40B4-BE49-F238E27FC236}">
                  <a16:creationId xmlns:a16="http://schemas.microsoft.com/office/drawing/2014/main" id="{0DDD8DC5-7A9F-4A01-A379-4DDD6EBDEDE1}"/>
                </a:ext>
              </a:extLst>
            </p:cNvPr>
            <p:cNvCxnSpPr/>
            <p:nvPr userDrawn="1"/>
          </p:nvCxnSpPr>
          <p:spPr bwMode="gray">
            <a:xfrm>
              <a:off x="-192714" y="623810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83">
              <a:extLst>
                <a:ext uri="{FF2B5EF4-FFF2-40B4-BE49-F238E27FC236}">
                  <a16:creationId xmlns:a16="http://schemas.microsoft.com/office/drawing/2014/main" id="{772D4454-427C-4697-A163-14027C8D116F}"/>
                </a:ext>
              </a:extLst>
            </p:cNvPr>
            <p:cNvCxnSpPr/>
            <p:nvPr userDrawn="1"/>
          </p:nvCxnSpPr>
          <p:spPr bwMode="gray">
            <a:xfrm>
              <a:off x="-192654" y="33265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66">
            <a:extLst>
              <a:ext uri="{FF2B5EF4-FFF2-40B4-BE49-F238E27FC236}">
                <a16:creationId xmlns:a16="http://schemas.microsoft.com/office/drawing/2014/main" id="{EFFFBBD6-454D-413F-9BAE-3B168ABFE3DE}"/>
              </a:ext>
            </a:extLst>
          </p:cNvPr>
          <p:cNvGrpSpPr/>
          <p:nvPr/>
        </p:nvGrpSpPr>
        <p:grpSpPr bwMode="gray">
          <a:xfrm>
            <a:off x="336860" y="-207355"/>
            <a:ext cx="11518280" cy="110731"/>
            <a:chOff x="252710" y="-531551"/>
            <a:chExt cx="8640960" cy="432064"/>
          </a:xfrm>
        </p:grpSpPr>
        <p:cxnSp>
          <p:nvCxnSpPr>
            <p:cNvPr id="16" name="Gerade Verbindung 15">
              <a:extLst>
                <a:ext uri="{FF2B5EF4-FFF2-40B4-BE49-F238E27FC236}">
                  <a16:creationId xmlns:a16="http://schemas.microsoft.com/office/drawing/2014/main" id="{BBBA7A89-A44A-4C21-A191-39C4B8588378}"/>
                </a:ext>
              </a:extLst>
            </p:cNvPr>
            <p:cNvCxnSpPr/>
            <p:nvPr userDrawn="1"/>
          </p:nvCxnSpPr>
          <p:spPr bwMode="gray">
            <a:xfrm rot="5400000">
              <a:off x="36680" y="-315517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>
              <a:extLst>
                <a:ext uri="{FF2B5EF4-FFF2-40B4-BE49-F238E27FC236}">
                  <a16:creationId xmlns:a16="http://schemas.microsoft.com/office/drawing/2014/main" id="{0AE8A7C2-725C-4197-837C-8CD48A2AD471}"/>
                </a:ext>
              </a:extLst>
            </p:cNvPr>
            <p:cNvCxnSpPr/>
            <p:nvPr userDrawn="1"/>
          </p:nvCxnSpPr>
          <p:spPr bwMode="gray">
            <a:xfrm rot="5400000">
              <a:off x="203490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>
              <a:extLst>
                <a:ext uri="{FF2B5EF4-FFF2-40B4-BE49-F238E27FC236}">
                  <a16:creationId xmlns:a16="http://schemas.microsoft.com/office/drawing/2014/main" id="{E19925CD-E567-4BD4-A46F-8A58413C9EBB}"/>
                </a:ext>
              </a:extLst>
            </p:cNvPr>
            <p:cNvCxnSpPr/>
            <p:nvPr userDrawn="1"/>
          </p:nvCxnSpPr>
          <p:spPr bwMode="gray">
            <a:xfrm rot="5400000">
              <a:off x="2250926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0">
              <a:extLst>
                <a:ext uri="{FF2B5EF4-FFF2-40B4-BE49-F238E27FC236}">
                  <a16:creationId xmlns:a16="http://schemas.microsoft.com/office/drawing/2014/main" id="{DF54452A-E6BC-4996-89CC-92B7FCA8ED8C}"/>
                </a:ext>
              </a:extLst>
            </p:cNvPr>
            <p:cNvCxnSpPr/>
            <p:nvPr userDrawn="1"/>
          </p:nvCxnSpPr>
          <p:spPr bwMode="gray">
            <a:xfrm rot="5400000">
              <a:off x="424914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1">
              <a:extLst>
                <a:ext uri="{FF2B5EF4-FFF2-40B4-BE49-F238E27FC236}">
                  <a16:creationId xmlns:a16="http://schemas.microsoft.com/office/drawing/2014/main" id="{F9067B57-6572-4F92-83C0-2D1DCC5AE106}"/>
                </a:ext>
              </a:extLst>
            </p:cNvPr>
            <p:cNvCxnSpPr/>
            <p:nvPr userDrawn="1"/>
          </p:nvCxnSpPr>
          <p:spPr bwMode="gray">
            <a:xfrm rot="5400000">
              <a:off x="446517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2">
              <a:extLst>
                <a:ext uri="{FF2B5EF4-FFF2-40B4-BE49-F238E27FC236}">
                  <a16:creationId xmlns:a16="http://schemas.microsoft.com/office/drawing/2014/main" id="{E2DC1B8E-F8B8-45B9-9FF5-D8BEFBBCCB9F}"/>
                </a:ext>
              </a:extLst>
            </p:cNvPr>
            <p:cNvCxnSpPr/>
            <p:nvPr userDrawn="1"/>
          </p:nvCxnSpPr>
          <p:spPr bwMode="gray">
            <a:xfrm rot="5400000">
              <a:off x="6463394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23">
              <a:extLst>
                <a:ext uri="{FF2B5EF4-FFF2-40B4-BE49-F238E27FC236}">
                  <a16:creationId xmlns:a16="http://schemas.microsoft.com/office/drawing/2014/main" id="{CDE4E43D-3591-4707-BBCB-B58C79CA7A39}"/>
                </a:ext>
              </a:extLst>
            </p:cNvPr>
            <p:cNvCxnSpPr/>
            <p:nvPr userDrawn="1"/>
          </p:nvCxnSpPr>
          <p:spPr bwMode="gray">
            <a:xfrm rot="5400000">
              <a:off x="667941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26">
              <a:extLst>
                <a:ext uri="{FF2B5EF4-FFF2-40B4-BE49-F238E27FC236}">
                  <a16:creationId xmlns:a16="http://schemas.microsoft.com/office/drawing/2014/main" id="{A3FC7D89-B555-4AE9-83D4-BD9C60DB8B1C}"/>
                </a:ext>
              </a:extLst>
            </p:cNvPr>
            <p:cNvCxnSpPr/>
            <p:nvPr userDrawn="1"/>
          </p:nvCxnSpPr>
          <p:spPr bwMode="gray">
            <a:xfrm rot="5400000">
              <a:off x="8677640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830817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HeaderLine">
            <a:extLst>
              <a:ext uri="{FF2B5EF4-FFF2-40B4-BE49-F238E27FC236}">
                <a16:creationId xmlns:a16="http://schemas.microsoft.com/office/drawing/2014/main" id="{079070D3-E20E-4730-B988-D25B839F5AF2}"/>
              </a:ext>
            </a:extLst>
          </p:cNvPr>
          <p:cNvCxnSpPr/>
          <p:nvPr/>
        </p:nvCxnSpPr>
        <p:spPr bwMode="gray">
          <a:xfrm>
            <a:off x="338050" y="1219765"/>
            <a:ext cx="935756" cy="0"/>
          </a:xfrm>
          <a:prstGeom prst="line">
            <a:avLst/>
          </a:prstGeom>
          <a:solidFill>
            <a:schemeClr val="bg1"/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338050" y="333297"/>
            <a:ext cx="11515901" cy="79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Mastertitelformat bearbeiten 24pt</a:t>
            </a:r>
            <a:endParaRPr lang="en-GB" dirty="0"/>
          </a:p>
        </p:txBody>
      </p:sp>
      <p:sp>
        <p:nvSpPr>
          <p:cNvPr id="1031" name="Content"/>
          <p:cNvSpPr>
            <a:spLocks noGrp="1"/>
          </p:cNvSpPr>
          <p:nvPr>
            <p:ph type="body" idx="1"/>
          </p:nvPr>
        </p:nvSpPr>
        <p:spPr bwMode="gray">
          <a:xfrm>
            <a:off x="338050" y="1414136"/>
            <a:ext cx="11515901" cy="4823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  <a:p>
            <a:pPr lvl="5"/>
            <a:r>
              <a:rPr lang="en-GB"/>
              <a:t>Sechste Ebene</a:t>
            </a:r>
          </a:p>
          <a:p>
            <a:pPr lvl="6"/>
            <a:r>
              <a:rPr lang="en-GB"/>
              <a:t>Siebte Ebene</a:t>
            </a:r>
          </a:p>
          <a:p>
            <a:pPr lvl="7"/>
            <a:r>
              <a:rPr lang="en-GB"/>
              <a:t>Achte Ebene</a:t>
            </a:r>
          </a:p>
          <a:p>
            <a:pPr lvl="8"/>
            <a:r>
              <a:rPr lang="en-GB"/>
              <a:t>Neunte Ebene</a:t>
            </a:r>
            <a:endParaRPr lang="en-GB" dirty="0"/>
          </a:p>
        </p:txBody>
      </p:sp>
      <p:grpSp>
        <p:nvGrpSpPr>
          <p:cNvPr id="24" name="GridLeft">
            <a:extLst>
              <a:ext uri="{FF2B5EF4-FFF2-40B4-BE49-F238E27FC236}">
                <a16:creationId xmlns:a16="http://schemas.microsoft.com/office/drawing/2014/main" id="{382046D6-8694-43C4-849E-1F34D6E78E04}"/>
              </a:ext>
            </a:extLst>
          </p:cNvPr>
          <p:cNvGrpSpPr/>
          <p:nvPr/>
        </p:nvGrpSpPr>
        <p:grpSpPr bwMode="gray">
          <a:xfrm>
            <a:off x="-192664" y="332579"/>
            <a:ext cx="96001" cy="5904083"/>
            <a:chOff x="-192714" y="332656"/>
            <a:chExt cx="96026" cy="5905450"/>
          </a:xfrm>
        </p:grpSpPr>
        <p:cxnSp>
          <p:nvCxnSpPr>
            <p:cNvPr id="39" name="Gerade Verbindung 77">
              <a:extLst>
                <a:ext uri="{FF2B5EF4-FFF2-40B4-BE49-F238E27FC236}">
                  <a16:creationId xmlns:a16="http://schemas.microsoft.com/office/drawing/2014/main" id="{0D03321A-BBD2-4F2F-9813-C6E06BF28005}"/>
                </a:ext>
              </a:extLst>
            </p:cNvPr>
            <p:cNvCxnSpPr/>
            <p:nvPr userDrawn="1"/>
          </p:nvCxnSpPr>
          <p:spPr bwMode="gray">
            <a:xfrm>
              <a:off x="-192714" y="623810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0">
              <a:extLst>
                <a:ext uri="{FF2B5EF4-FFF2-40B4-BE49-F238E27FC236}">
                  <a16:creationId xmlns:a16="http://schemas.microsoft.com/office/drawing/2014/main" id="{C46E9AA2-1DE3-4274-94B6-694DCBFEE7A9}"/>
                </a:ext>
              </a:extLst>
            </p:cNvPr>
            <p:cNvCxnSpPr/>
            <p:nvPr userDrawn="1"/>
          </p:nvCxnSpPr>
          <p:spPr bwMode="gray">
            <a:xfrm>
              <a:off x="-192654" y="1413794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3">
              <a:extLst>
                <a:ext uri="{FF2B5EF4-FFF2-40B4-BE49-F238E27FC236}">
                  <a16:creationId xmlns:a16="http://schemas.microsoft.com/office/drawing/2014/main" id="{EEEC6576-C820-4096-8871-445700389F54}"/>
                </a:ext>
              </a:extLst>
            </p:cNvPr>
            <p:cNvCxnSpPr/>
            <p:nvPr userDrawn="1"/>
          </p:nvCxnSpPr>
          <p:spPr bwMode="gray">
            <a:xfrm>
              <a:off x="-192654" y="33265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FooterLine">
            <a:extLst>
              <a:ext uri="{FF2B5EF4-FFF2-40B4-BE49-F238E27FC236}">
                <a16:creationId xmlns:a16="http://schemas.microsoft.com/office/drawing/2014/main" id="{9CA5095E-F378-40DD-B3DF-E430D959832A}"/>
              </a:ext>
            </a:extLst>
          </p:cNvPr>
          <p:cNvCxnSpPr>
            <a:cxnSpLocks/>
          </p:cNvCxnSpPr>
          <p:nvPr/>
        </p:nvCxnSpPr>
        <p:spPr bwMode="gray">
          <a:xfrm>
            <a:off x="336858" y="6487586"/>
            <a:ext cx="10187907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C6D2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PageNumber">
            <a:extLst>
              <a:ext uri="{FF2B5EF4-FFF2-40B4-BE49-F238E27FC236}">
                <a16:creationId xmlns:a16="http://schemas.microsoft.com/office/drawing/2014/main" id="{6D39FD94-96A5-4379-89AD-E334236E1809}"/>
              </a:ext>
            </a:extLst>
          </p:cNvPr>
          <p:cNvSpPr/>
          <p:nvPr/>
        </p:nvSpPr>
        <p:spPr bwMode="gray">
          <a:xfrm>
            <a:off x="337499" y="6524283"/>
            <a:ext cx="287925" cy="215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</a:pPr>
            <a:fld id="{B2B235C9-7F53-4C69-838E-BB90E4172CA8}" type="slidenum">
              <a:rPr kumimoji="0" lang="en-GB" sz="800" b="0" i="0" u="none" strike="noStrike" cap="none" normalizeH="0" baseline="0" smtClean="0">
                <a:ln>
                  <a:noFill/>
                </a:ln>
                <a:effectLst/>
                <a:latin typeface="Arial" charset="0"/>
              </a:rPr>
              <a:pPr marL="0" marR="0" indent="0" algn="l" defTabSz="914126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</a:pPr>
              <a:t>‹#›</a:t>
            </a:fld>
            <a:endParaRPr kumimoji="0" lang="en-GB" sz="8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7" name="Footer">
            <a:extLst>
              <a:ext uri="{FF2B5EF4-FFF2-40B4-BE49-F238E27FC236}">
                <a16:creationId xmlns:a16="http://schemas.microsoft.com/office/drawing/2014/main" id="{3DC585FC-C0B8-474B-8E4D-9E723074111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25424" y="6524283"/>
            <a:ext cx="9861432" cy="215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</a:pPr>
            <a:r>
              <a:rPr kumimoji="0" lang="en-GB" sz="800" b="0" i="0" u="none" strike="noStrike" cap="none" normalizeH="0" baseline="0" smtClean="0">
                <a:ln>
                  <a:noFill/>
                </a:ln>
                <a:effectLst/>
                <a:latin typeface="Arial" charset="0"/>
              </a:rPr>
              <a:t>Hannover Re</a:t>
            </a:r>
            <a:endParaRPr kumimoji="0" lang="en-GB" sz="8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421EE62C-EACD-4AB0-80DD-5364ED7B156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69667" y="6487586"/>
            <a:ext cx="984285" cy="179958"/>
          </a:xfrm>
          <a:prstGeom prst="rect">
            <a:avLst/>
          </a:prstGeom>
        </p:spPr>
      </p:pic>
      <p:grpSp>
        <p:nvGrpSpPr>
          <p:cNvPr id="18" name="Gruppieren 66">
            <a:extLst>
              <a:ext uri="{FF2B5EF4-FFF2-40B4-BE49-F238E27FC236}">
                <a16:creationId xmlns:a16="http://schemas.microsoft.com/office/drawing/2014/main" id="{8BC3FB9C-9F10-4EA0-8DD8-BF366B8922AA}"/>
              </a:ext>
            </a:extLst>
          </p:cNvPr>
          <p:cNvGrpSpPr/>
          <p:nvPr/>
        </p:nvGrpSpPr>
        <p:grpSpPr bwMode="gray">
          <a:xfrm>
            <a:off x="336860" y="-207355"/>
            <a:ext cx="11518280" cy="110731"/>
            <a:chOff x="252710" y="-531551"/>
            <a:chExt cx="8640960" cy="432064"/>
          </a:xfrm>
        </p:grpSpPr>
        <p:cxnSp>
          <p:nvCxnSpPr>
            <p:cNvPr id="19" name="Gerade Verbindung 15">
              <a:extLst>
                <a:ext uri="{FF2B5EF4-FFF2-40B4-BE49-F238E27FC236}">
                  <a16:creationId xmlns:a16="http://schemas.microsoft.com/office/drawing/2014/main" id="{6B101F39-BFD4-41BC-A83E-F1200878D443}"/>
                </a:ext>
              </a:extLst>
            </p:cNvPr>
            <p:cNvCxnSpPr/>
            <p:nvPr userDrawn="1"/>
          </p:nvCxnSpPr>
          <p:spPr bwMode="gray">
            <a:xfrm rot="5400000">
              <a:off x="36680" y="-315517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6">
              <a:extLst>
                <a:ext uri="{FF2B5EF4-FFF2-40B4-BE49-F238E27FC236}">
                  <a16:creationId xmlns:a16="http://schemas.microsoft.com/office/drawing/2014/main" id="{61CA6AD6-9F16-4408-B145-55BEBFFAF9E3}"/>
                </a:ext>
              </a:extLst>
            </p:cNvPr>
            <p:cNvCxnSpPr/>
            <p:nvPr userDrawn="1"/>
          </p:nvCxnSpPr>
          <p:spPr bwMode="gray">
            <a:xfrm rot="5400000">
              <a:off x="203490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7">
              <a:extLst>
                <a:ext uri="{FF2B5EF4-FFF2-40B4-BE49-F238E27FC236}">
                  <a16:creationId xmlns:a16="http://schemas.microsoft.com/office/drawing/2014/main" id="{94BBE10F-C5F3-47BE-812D-87A9DB1D2A74}"/>
                </a:ext>
              </a:extLst>
            </p:cNvPr>
            <p:cNvCxnSpPr/>
            <p:nvPr userDrawn="1"/>
          </p:nvCxnSpPr>
          <p:spPr bwMode="gray">
            <a:xfrm rot="5400000">
              <a:off x="2250926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0">
              <a:extLst>
                <a:ext uri="{FF2B5EF4-FFF2-40B4-BE49-F238E27FC236}">
                  <a16:creationId xmlns:a16="http://schemas.microsoft.com/office/drawing/2014/main" id="{5CDF1112-A114-4F5C-8105-C93485162782}"/>
                </a:ext>
              </a:extLst>
            </p:cNvPr>
            <p:cNvCxnSpPr/>
            <p:nvPr userDrawn="1"/>
          </p:nvCxnSpPr>
          <p:spPr bwMode="gray">
            <a:xfrm rot="5400000">
              <a:off x="424914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1">
              <a:extLst>
                <a:ext uri="{FF2B5EF4-FFF2-40B4-BE49-F238E27FC236}">
                  <a16:creationId xmlns:a16="http://schemas.microsoft.com/office/drawing/2014/main" id="{77132B61-B295-4868-AB92-80DE740E87D0}"/>
                </a:ext>
              </a:extLst>
            </p:cNvPr>
            <p:cNvCxnSpPr/>
            <p:nvPr userDrawn="1"/>
          </p:nvCxnSpPr>
          <p:spPr bwMode="gray">
            <a:xfrm rot="5400000">
              <a:off x="446517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2">
              <a:extLst>
                <a:ext uri="{FF2B5EF4-FFF2-40B4-BE49-F238E27FC236}">
                  <a16:creationId xmlns:a16="http://schemas.microsoft.com/office/drawing/2014/main" id="{4AB3535B-5AFE-49C2-838E-6D796791F1AB}"/>
                </a:ext>
              </a:extLst>
            </p:cNvPr>
            <p:cNvCxnSpPr/>
            <p:nvPr userDrawn="1"/>
          </p:nvCxnSpPr>
          <p:spPr bwMode="gray">
            <a:xfrm rot="5400000">
              <a:off x="6463394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3">
              <a:extLst>
                <a:ext uri="{FF2B5EF4-FFF2-40B4-BE49-F238E27FC236}">
                  <a16:creationId xmlns:a16="http://schemas.microsoft.com/office/drawing/2014/main" id="{BD9CD957-FF2E-4E82-B664-8A2A17B27651}"/>
                </a:ext>
              </a:extLst>
            </p:cNvPr>
            <p:cNvCxnSpPr/>
            <p:nvPr userDrawn="1"/>
          </p:nvCxnSpPr>
          <p:spPr bwMode="gray">
            <a:xfrm rot="5400000">
              <a:off x="667941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D65AFE3E-FE54-407A-85F3-950B88F6E4D8}"/>
                </a:ext>
              </a:extLst>
            </p:cNvPr>
            <p:cNvCxnSpPr/>
            <p:nvPr userDrawn="1"/>
          </p:nvCxnSpPr>
          <p:spPr bwMode="gray">
            <a:xfrm rot="5400000">
              <a:off x="8677640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094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 spd="slow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99" b="1" i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5pPr>
      <a:lvl6pPr marL="457154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6pPr>
      <a:lvl7pPr marL="914309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7pPr>
      <a:lvl8pPr marL="1371462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8pPr>
      <a:lvl9pPr marL="1828617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9pPr>
    </p:titleStyle>
    <p:bodyStyle>
      <a:lvl1pPr marL="215935" indent="-215935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600" b="0" i="0" baseline="0">
          <a:solidFill>
            <a:schemeClr val="tx1"/>
          </a:solidFill>
          <a:latin typeface="+mn-lt"/>
          <a:ea typeface="+mn-ea"/>
          <a:cs typeface="+mn-cs"/>
        </a:defRPr>
      </a:lvl1pPr>
      <a:lvl2pPr marL="431870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64780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 b="0">
          <a:solidFill>
            <a:schemeClr val="tx1"/>
          </a:solidFill>
          <a:latin typeface="+mn-lt"/>
        </a:defRPr>
      </a:lvl3pPr>
      <a:lvl4pPr marL="863741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–"/>
        <a:defRPr sz="1600" b="0">
          <a:solidFill>
            <a:schemeClr val="tx1"/>
          </a:solidFill>
          <a:latin typeface="+mn-lt"/>
        </a:defRPr>
      </a:lvl4pPr>
      <a:lvl5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6pPr>
      <a:lvl7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7pPr>
      <a:lvl8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8pPr>
      <a:lvl9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469">
          <p15:clr>
            <a:srgbClr val="F26B43"/>
          </p15:clr>
        </p15:guide>
        <p15:guide id="2" pos="213">
          <p15:clr>
            <a:srgbClr val="F26B43"/>
          </p15:clr>
        </p15:guide>
        <p15:guide id="3" orient="horz" pos="210">
          <p15:clr>
            <a:srgbClr val="F26B43"/>
          </p15:clr>
        </p15:guide>
        <p15:guide id="9" orient="horz" pos="3930">
          <p15:clr>
            <a:srgbClr val="F26B43"/>
          </p15:clr>
        </p15:guide>
        <p15:guide id="10" orient="horz" pos="891">
          <p15:clr>
            <a:srgbClr val="F26B43"/>
          </p15:clr>
        </p15:guide>
        <p15:guide id="11" pos="3750">
          <p15:clr>
            <a:srgbClr val="F26B43"/>
          </p15:clr>
        </p15:guide>
        <p15:guide id="12" pos="39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2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3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4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5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1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96901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725" y="0"/>
            <a:ext cx="9742876" cy="6490010"/>
            <a:chOff x="4782" y="0"/>
            <a:chExt cx="6069626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4782" y="0"/>
              <a:ext cx="6069626" cy="6490010"/>
              <a:chOff x="7599" y="0"/>
              <a:chExt cx="9646804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7599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53789" y="5149336"/>
                <a:ext cx="11443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58410" y="1008715"/>
              <a:ext cx="2063130" cy="17803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Objetivos</a:t>
              </a:r>
              <a:r>
                <a:rPr lang="en-GB" sz="1600" dirty="0" smtClean="0">
                  <a:solidFill>
                    <a:srgbClr val="002060"/>
                  </a:solidFill>
                </a:rPr>
                <a:t> de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Negoci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" y="0"/>
            <a:ext cx="5006897" cy="6490010"/>
            <a:chOff x="1" y="0"/>
            <a:chExt cx="9991492" cy="649001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" name="Rectangle 7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9" name="Isosceles Triangle 8"/>
            <p:cNvSpPr/>
            <p:nvPr/>
          </p:nvSpPr>
          <p:spPr bwMode="gray">
            <a:xfrm rot="5400000">
              <a:off x="9043639" y="4103648"/>
              <a:ext cx="1115122" cy="780586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-1" y="0"/>
            <a:ext cx="4091001" cy="6490010"/>
            <a:chOff x="1" y="0"/>
            <a:chExt cx="9991491" cy="649001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" name="Rectangle 10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Isosceles Triangle 11"/>
            <p:cNvSpPr/>
            <p:nvPr/>
          </p:nvSpPr>
          <p:spPr bwMode="gray">
            <a:xfrm rot="5400000">
              <a:off x="9043639" y="2854713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¿</a:t>
            </a:r>
            <a:r>
              <a:rPr lang="en-GB" dirty="0" err="1" smtClean="0">
                <a:solidFill>
                  <a:schemeClr val="bg1"/>
                </a:solidFill>
              </a:rPr>
              <a:t>Qué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vamos</a:t>
            </a:r>
            <a:r>
              <a:rPr lang="en-GB" dirty="0" smtClean="0">
                <a:solidFill>
                  <a:schemeClr val="bg1"/>
                </a:solidFill>
              </a:rPr>
              <a:t> a </a:t>
            </a:r>
            <a:r>
              <a:rPr lang="en-GB" dirty="0" err="1" smtClean="0">
                <a:solidFill>
                  <a:schemeClr val="bg1"/>
                </a:solidFill>
              </a:rPr>
              <a:t>hacer</a:t>
            </a:r>
            <a:r>
              <a:rPr lang="en-GB" dirty="0" smtClean="0">
                <a:solidFill>
                  <a:schemeClr val="bg1"/>
                </a:solidFill>
              </a:rPr>
              <a:t>?</a:t>
            </a:r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 bwMode="gray">
          <a:xfrm rot="16200000">
            <a:off x="3325421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Desmpeño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Financiero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 rot="16200000">
            <a:off x="2484052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Financier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Human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85446F6-9637-2BBB-0C73-5F44172699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11625" y="3226171"/>
            <a:ext cx="1226840" cy="1227978"/>
            <a:chOff x="3303" y="1622"/>
            <a:chExt cx="1078" cy="1079"/>
          </a:xfrm>
          <a:solidFill>
            <a:schemeClr val="accent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A9F4D95D-DF38-4B7D-6EF6-840E87C1D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1" y="1622"/>
              <a:ext cx="143" cy="141"/>
            </a:xfrm>
            <a:custGeom>
              <a:avLst/>
              <a:gdLst>
                <a:gd name="T0" fmla="*/ 30 w 60"/>
                <a:gd name="T1" fmla="*/ 59 h 59"/>
                <a:gd name="T2" fmla="*/ 56 w 60"/>
                <a:gd name="T3" fmla="*/ 43 h 59"/>
                <a:gd name="T4" fmla="*/ 60 w 60"/>
                <a:gd name="T5" fmla="*/ 29 h 59"/>
                <a:gd name="T6" fmla="*/ 51 w 60"/>
                <a:gd name="T7" fmla="*/ 8 h 59"/>
                <a:gd name="T8" fmla="*/ 44 w 60"/>
                <a:gd name="T9" fmla="*/ 3 h 59"/>
                <a:gd name="T10" fmla="*/ 39 w 60"/>
                <a:gd name="T11" fmla="*/ 1 h 59"/>
                <a:gd name="T12" fmla="*/ 30 w 60"/>
                <a:gd name="T13" fmla="*/ 0 h 59"/>
                <a:gd name="T14" fmla="*/ 30 w 60"/>
                <a:gd name="T15" fmla="*/ 0 h 59"/>
                <a:gd name="T16" fmla="*/ 19 w 60"/>
                <a:gd name="T17" fmla="*/ 2 h 59"/>
                <a:gd name="T18" fmla="*/ 0 w 60"/>
                <a:gd name="T19" fmla="*/ 29 h 59"/>
                <a:gd name="T20" fmla="*/ 4 w 60"/>
                <a:gd name="T21" fmla="*/ 43 h 59"/>
                <a:gd name="T22" fmla="*/ 30 w 60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9">
                  <a:moveTo>
                    <a:pt x="30" y="59"/>
                  </a:moveTo>
                  <a:cubicBezTo>
                    <a:pt x="41" y="59"/>
                    <a:pt x="51" y="53"/>
                    <a:pt x="56" y="43"/>
                  </a:cubicBezTo>
                  <a:cubicBezTo>
                    <a:pt x="58" y="39"/>
                    <a:pt x="60" y="34"/>
                    <a:pt x="60" y="29"/>
                  </a:cubicBezTo>
                  <a:cubicBezTo>
                    <a:pt x="60" y="21"/>
                    <a:pt x="56" y="14"/>
                    <a:pt x="51" y="8"/>
                  </a:cubicBezTo>
                  <a:cubicBezTo>
                    <a:pt x="49" y="6"/>
                    <a:pt x="47" y="5"/>
                    <a:pt x="44" y="3"/>
                  </a:cubicBezTo>
                  <a:cubicBezTo>
                    <a:pt x="43" y="2"/>
                    <a:pt x="41" y="2"/>
                    <a:pt x="39" y="1"/>
                  </a:cubicBezTo>
                  <a:cubicBezTo>
                    <a:pt x="36" y="0"/>
                    <a:pt x="33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0"/>
                    <a:pt x="22" y="0"/>
                    <a:pt x="19" y="2"/>
                  </a:cubicBezTo>
                  <a:cubicBezTo>
                    <a:pt x="8" y="6"/>
                    <a:pt x="0" y="17"/>
                    <a:pt x="0" y="29"/>
                  </a:cubicBezTo>
                  <a:cubicBezTo>
                    <a:pt x="0" y="34"/>
                    <a:pt x="2" y="39"/>
                    <a:pt x="4" y="43"/>
                  </a:cubicBezTo>
                  <a:cubicBezTo>
                    <a:pt x="9" y="53"/>
                    <a:pt x="19" y="59"/>
                    <a:pt x="30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F6562E24-98AC-2764-0B13-3533197D5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" y="1775"/>
              <a:ext cx="260" cy="136"/>
            </a:xfrm>
            <a:custGeom>
              <a:avLst/>
              <a:gdLst>
                <a:gd name="T0" fmla="*/ 106 w 109"/>
                <a:gd name="T1" fmla="*/ 57 h 57"/>
                <a:gd name="T2" fmla="*/ 109 w 109"/>
                <a:gd name="T3" fmla="*/ 54 h 57"/>
                <a:gd name="T4" fmla="*/ 109 w 109"/>
                <a:gd name="T5" fmla="*/ 54 h 57"/>
                <a:gd name="T6" fmla="*/ 54 w 109"/>
                <a:gd name="T7" fmla="*/ 0 h 57"/>
                <a:gd name="T8" fmla="*/ 54 w 109"/>
                <a:gd name="T9" fmla="*/ 0 h 57"/>
                <a:gd name="T10" fmla="*/ 0 w 109"/>
                <a:gd name="T11" fmla="*/ 54 h 57"/>
                <a:gd name="T12" fmla="*/ 0 w 109"/>
                <a:gd name="T13" fmla="*/ 54 h 57"/>
                <a:gd name="T14" fmla="*/ 3 w 109"/>
                <a:gd name="T15" fmla="*/ 57 h 57"/>
                <a:gd name="T16" fmla="*/ 106 w 109"/>
                <a:gd name="T1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57">
                  <a:moveTo>
                    <a:pt x="106" y="57"/>
                  </a:moveTo>
                  <a:cubicBezTo>
                    <a:pt x="107" y="57"/>
                    <a:pt x="109" y="56"/>
                    <a:pt x="109" y="54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4" y="0"/>
                    <a:pt x="0" y="2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1" y="57"/>
                    <a:pt x="3" y="57"/>
                  </a:cubicBezTo>
                  <a:lnTo>
                    <a:pt x="106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E8B6F4C2-5E05-97EA-8928-D24A3C965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2491"/>
              <a:ext cx="98" cy="122"/>
            </a:xfrm>
            <a:custGeom>
              <a:avLst/>
              <a:gdLst>
                <a:gd name="T0" fmla="*/ 31 w 41"/>
                <a:gd name="T1" fmla="*/ 43 h 51"/>
                <a:gd name="T2" fmla="*/ 24 w 41"/>
                <a:gd name="T3" fmla="*/ 44 h 51"/>
                <a:gd name="T4" fmla="*/ 18 w 41"/>
                <a:gd name="T5" fmla="*/ 43 h 51"/>
                <a:gd name="T6" fmla="*/ 14 w 41"/>
                <a:gd name="T7" fmla="*/ 38 h 51"/>
                <a:gd name="T8" fmla="*/ 11 w 41"/>
                <a:gd name="T9" fmla="*/ 32 h 51"/>
                <a:gd name="T10" fmla="*/ 10 w 41"/>
                <a:gd name="T11" fmla="*/ 25 h 51"/>
                <a:gd name="T12" fmla="*/ 11 w 41"/>
                <a:gd name="T13" fmla="*/ 18 h 51"/>
                <a:gd name="T14" fmla="*/ 14 w 41"/>
                <a:gd name="T15" fmla="*/ 12 h 51"/>
                <a:gd name="T16" fmla="*/ 18 w 41"/>
                <a:gd name="T17" fmla="*/ 8 h 51"/>
                <a:gd name="T18" fmla="*/ 24 w 41"/>
                <a:gd name="T19" fmla="*/ 6 h 51"/>
                <a:gd name="T20" fmla="*/ 28 w 41"/>
                <a:gd name="T21" fmla="*/ 7 h 51"/>
                <a:gd name="T22" fmla="*/ 32 w 41"/>
                <a:gd name="T23" fmla="*/ 8 h 51"/>
                <a:gd name="T24" fmla="*/ 34 w 41"/>
                <a:gd name="T25" fmla="*/ 11 h 51"/>
                <a:gd name="T26" fmla="*/ 36 w 41"/>
                <a:gd name="T27" fmla="*/ 13 h 51"/>
                <a:gd name="T28" fmla="*/ 40 w 41"/>
                <a:gd name="T29" fmla="*/ 6 h 51"/>
                <a:gd name="T30" fmla="*/ 33 w 41"/>
                <a:gd name="T31" fmla="*/ 1 h 51"/>
                <a:gd name="T32" fmla="*/ 24 w 41"/>
                <a:gd name="T33" fmla="*/ 0 h 51"/>
                <a:gd name="T34" fmla="*/ 14 w 41"/>
                <a:gd name="T35" fmla="*/ 2 h 51"/>
                <a:gd name="T36" fmla="*/ 6 w 41"/>
                <a:gd name="T37" fmla="*/ 7 h 51"/>
                <a:gd name="T38" fmla="*/ 2 w 41"/>
                <a:gd name="T39" fmla="*/ 15 h 51"/>
                <a:gd name="T40" fmla="*/ 0 w 41"/>
                <a:gd name="T41" fmla="*/ 25 h 51"/>
                <a:gd name="T42" fmla="*/ 1 w 41"/>
                <a:gd name="T43" fmla="*/ 35 h 51"/>
                <a:gd name="T44" fmla="*/ 6 w 41"/>
                <a:gd name="T45" fmla="*/ 43 h 51"/>
                <a:gd name="T46" fmla="*/ 13 w 41"/>
                <a:gd name="T47" fmla="*/ 49 h 51"/>
                <a:gd name="T48" fmla="*/ 24 w 41"/>
                <a:gd name="T49" fmla="*/ 51 h 51"/>
                <a:gd name="T50" fmla="*/ 29 w 41"/>
                <a:gd name="T51" fmla="*/ 51 h 51"/>
                <a:gd name="T52" fmla="*/ 33 w 41"/>
                <a:gd name="T53" fmla="*/ 50 h 51"/>
                <a:gd name="T54" fmla="*/ 37 w 41"/>
                <a:gd name="T55" fmla="*/ 48 h 51"/>
                <a:gd name="T56" fmla="*/ 41 w 41"/>
                <a:gd name="T57" fmla="*/ 45 h 51"/>
                <a:gd name="T58" fmla="*/ 38 w 41"/>
                <a:gd name="T59" fmla="*/ 38 h 51"/>
                <a:gd name="T60" fmla="*/ 31 w 41"/>
                <a:gd name="T6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51">
                  <a:moveTo>
                    <a:pt x="31" y="43"/>
                  </a:moveTo>
                  <a:cubicBezTo>
                    <a:pt x="29" y="44"/>
                    <a:pt x="27" y="44"/>
                    <a:pt x="24" y="44"/>
                  </a:cubicBezTo>
                  <a:cubicBezTo>
                    <a:pt x="22" y="44"/>
                    <a:pt x="20" y="44"/>
                    <a:pt x="18" y="43"/>
                  </a:cubicBezTo>
                  <a:cubicBezTo>
                    <a:pt x="16" y="42"/>
                    <a:pt x="15" y="40"/>
                    <a:pt x="14" y="38"/>
                  </a:cubicBezTo>
                  <a:cubicBezTo>
                    <a:pt x="12" y="37"/>
                    <a:pt x="11" y="35"/>
                    <a:pt x="11" y="32"/>
                  </a:cubicBezTo>
                  <a:cubicBezTo>
                    <a:pt x="10" y="30"/>
                    <a:pt x="10" y="28"/>
                    <a:pt x="10" y="25"/>
                  </a:cubicBezTo>
                  <a:cubicBezTo>
                    <a:pt x="10" y="22"/>
                    <a:pt x="10" y="20"/>
                    <a:pt x="11" y="18"/>
                  </a:cubicBezTo>
                  <a:cubicBezTo>
                    <a:pt x="11" y="15"/>
                    <a:pt x="12" y="13"/>
                    <a:pt x="14" y="12"/>
                  </a:cubicBezTo>
                  <a:cubicBezTo>
                    <a:pt x="15" y="10"/>
                    <a:pt x="16" y="9"/>
                    <a:pt x="18" y="8"/>
                  </a:cubicBezTo>
                  <a:cubicBezTo>
                    <a:pt x="20" y="7"/>
                    <a:pt x="22" y="6"/>
                    <a:pt x="24" y="6"/>
                  </a:cubicBezTo>
                  <a:cubicBezTo>
                    <a:pt x="25" y="6"/>
                    <a:pt x="27" y="7"/>
                    <a:pt x="28" y="7"/>
                  </a:cubicBezTo>
                  <a:cubicBezTo>
                    <a:pt x="30" y="7"/>
                    <a:pt x="31" y="8"/>
                    <a:pt x="32" y="8"/>
                  </a:cubicBezTo>
                  <a:cubicBezTo>
                    <a:pt x="33" y="9"/>
                    <a:pt x="33" y="10"/>
                    <a:pt x="34" y="11"/>
                  </a:cubicBezTo>
                  <a:cubicBezTo>
                    <a:pt x="35" y="11"/>
                    <a:pt x="36" y="12"/>
                    <a:pt x="36" y="13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8" y="4"/>
                    <a:pt x="36" y="2"/>
                    <a:pt x="33" y="1"/>
                  </a:cubicBezTo>
                  <a:cubicBezTo>
                    <a:pt x="30" y="0"/>
                    <a:pt x="27" y="0"/>
                    <a:pt x="24" y="0"/>
                  </a:cubicBezTo>
                  <a:cubicBezTo>
                    <a:pt x="20" y="0"/>
                    <a:pt x="17" y="0"/>
                    <a:pt x="14" y="2"/>
                  </a:cubicBezTo>
                  <a:cubicBezTo>
                    <a:pt x="11" y="3"/>
                    <a:pt x="8" y="5"/>
                    <a:pt x="6" y="7"/>
                  </a:cubicBezTo>
                  <a:cubicBezTo>
                    <a:pt x="4" y="10"/>
                    <a:pt x="3" y="12"/>
                    <a:pt x="2" y="15"/>
                  </a:cubicBezTo>
                  <a:cubicBezTo>
                    <a:pt x="1" y="18"/>
                    <a:pt x="0" y="22"/>
                    <a:pt x="0" y="25"/>
                  </a:cubicBezTo>
                  <a:cubicBezTo>
                    <a:pt x="0" y="28"/>
                    <a:pt x="0" y="32"/>
                    <a:pt x="1" y="35"/>
                  </a:cubicBezTo>
                  <a:cubicBezTo>
                    <a:pt x="2" y="38"/>
                    <a:pt x="4" y="41"/>
                    <a:pt x="6" y="43"/>
                  </a:cubicBezTo>
                  <a:cubicBezTo>
                    <a:pt x="8" y="46"/>
                    <a:pt x="10" y="48"/>
                    <a:pt x="13" y="49"/>
                  </a:cubicBezTo>
                  <a:cubicBezTo>
                    <a:pt x="16" y="50"/>
                    <a:pt x="20" y="51"/>
                    <a:pt x="24" y="51"/>
                  </a:cubicBezTo>
                  <a:cubicBezTo>
                    <a:pt x="25" y="51"/>
                    <a:pt x="27" y="51"/>
                    <a:pt x="29" y="51"/>
                  </a:cubicBezTo>
                  <a:cubicBezTo>
                    <a:pt x="30" y="51"/>
                    <a:pt x="32" y="50"/>
                    <a:pt x="33" y="50"/>
                  </a:cubicBezTo>
                  <a:cubicBezTo>
                    <a:pt x="35" y="49"/>
                    <a:pt x="36" y="49"/>
                    <a:pt x="37" y="48"/>
                  </a:cubicBezTo>
                  <a:cubicBezTo>
                    <a:pt x="39" y="47"/>
                    <a:pt x="40" y="46"/>
                    <a:pt x="41" y="45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6" y="40"/>
                    <a:pt x="34" y="42"/>
                    <a:pt x="3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1B96E567-FB02-D956-7430-18521149D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2493"/>
              <a:ext cx="119" cy="117"/>
            </a:xfrm>
            <a:custGeom>
              <a:avLst/>
              <a:gdLst>
                <a:gd name="T0" fmla="*/ 115 w 119"/>
                <a:gd name="T1" fmla="*/ 0 h 117"/>
                <a:gd name="T2" fmla="*/ 88 w 119"/>
                <a:gd name="T3" fmla="*/ 0 h 117"/>
                <a:gd name="T4" fmla="*/ 60 w 119"/>
                <a:gd name="T5" fmla="*/ 43 h 117"/>
                <a:gd name="T6" fmla="*/ 31 w 119"/>
                <a:gd name="T7" fmla="*/ 0 h 117"/>
                <a:gd name="T8" fmla="*/ 5 w 119"/>
                <a:gd name="T9" fmla="*/ 0 h 117"/>
                <a:gd name="T10" fmla="*/ 45 w 119"/>
                <a:gd name="T11" fmla="*/ 55 h 117"/>
                <a:gd name="T12" fmla="*/ 0 w 119"/>
                <a:gd name="T13" fmla="*/ 117 h 117"/>
                <a:gd name="T14" fmla="*/ 26 w 119"/>
                <a:gd name="T15" fmla="*/ 117 h 117"/>
                <a:gd name="T16" fmla="*/ 60 w 119"/>
                <a:gd name="T17" fmla="*/ 70 h 117"/>
                <a:gd name="T18" fmla="*/ 91 w 119"/>
                <a:gd name="T19" fmla="*/ 117 h 117"/>
                <a:gd name="T20" fmla="*/ 119 w 119"/>
                <a:gd name="T21" fmla="*/ 117 h 117"/>
                <a:gd name="T22" fmla="*/ 74 w 119"/>
                <a:gd name="T23" fmla="*/ 55 h 117"/>
                <a:gd name="T24" fmla="*/ 115 w 119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117">
                  <a:moveTo>
                    <a:pt x="115" y="0"/>
                  </a:moveTo>
                  <a:lnTo>
                    <a:pt x="88" y="0"/>
                  </a:lnTo>
                  <a:lnTo>
                    <a:pt x="60" y="43"/>
                  </a:lnTo>
                  <a:lnTo>
                    <a:pt x="31" y="0"/>
                  </a:lnTo>
                  <a:lnTo>
                    <a:pt x="5" y="0"/>
                  </a:lnTo>
                  <a:lnTo>
                    <a:pt x="45" y="55"/>
                  </a:lnTo>
                  <a:lnTo>
                    <a:pt x="0" y="117"/>
                  </a:lnTo>
                  <a:lnTo>
                    <a:pt x="26" y="117"/>
                  </a:lnTo>
                  <a:lnTo>
                    <a:pt x="60" y="70"/>
                  </a:lnTo>
                  <a:lnTo>
                    <a:pt x="91" y="117"/>
                  </a:lnTo>
                  <a:lnTo>
                    <a:pt x="119" y="117"/>
                  </a:lnTo>
                  <a:lnTo>
                    <a:pt x="74" y="55"/>
                  </a:lnTo>
                  <a:lnTo>
                    <a:pt x="1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74CA3638-B6E0-182C-01B3-315DA84256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8" y="2343"/>
              <a:ext cx="644" cy="358"/>
            </a:xfrm>
            <a:custGeom>
              <a:avLst/>
              <a:gdLst>
                <a:gd name="T0" fmla="*/ 213 w 270"/>
                <a:gd name="T1" fmla="*/ 36 h 150"/>
                <a:gd name="T2" fmla="*/ 197 w 270"/>
                <a:gd name="T3" fmla="*/ 39 h 150"/>
                <a:gd name="T4" fmla="*/ 131 w 270"/>
                <a:gd name="T5" fmla="*/ 0 h 150"/>
                <a:gd name="T6" fmla="*/ 67 w 270"/>
                <a:gd name="T7" fmla="*/ 37 h 150"/>
                <a:gd name="T8" fmla="*/ 56 w 270"/>
                <a:gd name="T9" fmla="*/ 36 h 150"/>
                <a:gd name="T10" fmla="*/ 0 w 270"/>
                <a:gd name="T11" fmla="*/ 93 h 150"/>
                <a:gd name="T12" fmla="*/ 56 w 270"/>
                <a:gd name="T13" fmla="*/ 150 h 150"/>
                <a:gd name="T14" fmla="*/ 213 w 270"/>
                <a:gd name="T15" fmla="*/ 150 h 150"/>
                <a:gd name="T16" fmla="*/ 270 w 270"/>
                <a:gd name="T17" fmla="*/ 93 h 150"/>
                <a:gd name="T18" fmla="*/ 213 w 270"/>
                <a:gd name="T19" fmla="*/ 36 h 150"/>
                <a:gd name="T20" fmla="*/ 213 w 270"/>
                <a:gd name="T21" fmla="*/ 138 h 150"/>
                <a:gd name="T22" fmla="*/ 56 w 270"/>
                <a:gd name="T23" fmla="*/ 138 h 150"/>
                <a:gd name="T24" fmla="*/ 12 w 270"/>
                <a:gd name="T25" fmla="*/ 93 h 150"/>
                <a:gd name="T26" fmla="*/ 56 w 270"/>
                <a:gd name="T27" fmla="*/ 48 h 150"/>
                <a:gd name="T28" fmla="*/ 68 w 270"/>
                <a:gd name="T29" fmla="*/ 50 h 150"/>
                <a:gd name="T30" fmla="*/ 73 w 270"/>
                <a:gd name="T31" fmla="*/ 51 h 150"/>
                <a:gd name="T32" fmla="*/ 75 w 270"/>
                <a:gd name="T33" fmla="*/ 47 h 150"/>
                <a:gd name="T34" fmla="*/ 131 w 270"/>
                <a:gd name="T35" fmla="*/ 12 h 150"/>
                <a:gd name="T36" fmla="*/ 188 w 270"/>
                <a:gd name="T37" fmla="*/ 49 h 150"/>
                <a:gd name="T38" fmla="*/ 191 w 270"/>
                <a:gd name="T39" fmla="*/ 54 h 150"/>
                <a:gd name="T40" fmla="*/ 196 w 270"/>
                <a:gd name="T41" fmla="*/ 52 h 150"/>
                <a:gd name="T42" fmla="*/ 213 w 270"/>
                <a:gd name="T43" fmla="*/ 48 h 150"/>
                <a:gd name="T44" fmla="*/ 258 w 270"/>
                <a:gd name="T45" fmla="*/ 93 h 150"/>
                <a:gd name="T46" fmla="*/ 213 w 270"/>
                <a:gd name="T47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0" h="150">
                  <a:moveTo>
                    <a:pt x="213" y="36"/>
                  </a:moveTo>
                  <a:cubicBezTo>
                    <a:pt x="208" y="36"/>
                    <a:pt x="202" y="37"/>
                    <a:pt x="197" y="39"/>
                  </a:cubicBezTo>
                  <a:cubicBezTo>
                    <a:pt x="184" y="15"/>
                    <a:pt x="159" y="0"/>
                    <a:pt x="131" y="0"/>
                  </a:cubicBezTo>
                  <a:cubicBezTo>
                    <a:pt x="105" y="0"/>
                    <a:pt x="80" y="14"/>
                    <a:pt x="67" y="37"/>
                  </a:cubicBezTo>
                  <a:cubicBezTo>
                    <a:pt x="63" y="37"/>
                    <a:pt x="60" y="36"/>
                    <a:pt x="56" y="36"/>
                  </a:cubicBezTo>
                  <a:cubicBezTo>
                    <a:pt x="25" y="36"/>
                    <a:pt x="0" y="62"/>
                    <a:pt x="0" y="93"/>
                  </a:cubicBezTo>
                  <a:cubicBezTo>
                    <a:pt x="0" y="124"/>
                    <a:pt x="25" y="150"/>
                    <a:pt x="5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44" y="150"/>
                    <a:pt x="270" y="124"/>
                    <a:pt x="270" y="93"/>
                  </a:cubicBezTo>
                  <a:cubicBezTo>
                    <a:pt x="270" y="62"/>
                    <a:pt x="244" y="36"/>
                    <a:pt x="213" y="36"/>
                  </a:cubicBezTo>
                  <a:close/>
                  <a:moveTo>
                    <a:pt x="213" y="138"/>
                  </a:moveTo>
                  <a:cubicBezTo>
                    <a:pt x="56" y="138"/>
                    <a:pt x="56" y="138"/>
                    <a:pt x="56" y="138"/>
                  </a:cubicBezTo>
                  <a:cubicBezTo>
                    <a:pt x="32" y="138"/>
                    <a:pt x="12" y="118"/>
                    <a:pt x="12" y="93"/>
                  </a:cubicBezTo>
                  <a:cubicBezTo>
                    <a:pt x="12" y="68"/>
                    <a:pt x="32" y="48"/>
                    <a:pt x="56" y="48"/>
                  </a:cubicBezTo>
                  <a:cubicBezTo>
                    <a:pt x="60" y="48"/>
                    <a:pt x="64" y="49"/>
                    <a:pt x="68" y="50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86" y="25"/>
                    <a:pt x="108" y="12"/>
                    <a:pt x="131" y="12"/>
                  </a:cubicBezTo>
                  <a:cubicBezTo>
                    <a:pt x="156" y="12"/>
                    <a:pt x="178" y="26"/>
                    <a:pt x="188" y="49"/>
                  </a:cubicBezTo>
                  <a:cubicBezTo>
                    <a:pt x="191" y="54"/>
                    <a:pt x="191" y="54"/>
                    <a:pt x="191" y="54"/>
                  </a:cubicBezTo>
                  <a:cubicBezTo>
                    <a:pt x="196" y="52"/>
                    <a:pt x="196" y="52"/>
                    <a:pt x="196" y="52"/>
                  </a:cubicBezTo>
                  <a:cubicBezTo>
                    <a:pt x="201" y="49"/>
                    <a:pt x="207" y="48"/>
                    <a:pt x="213" y="48"/>
                  </a:cubicBezTo>
                  <a:cubicBezTo>
                    <a:pt x="238" y="48"/>
                    <a:pt x="258" y="68"/>
                    <a:pt x="258" y="93"/>
                  </a:cubicBezTo>
                  <a:cubicBezTo>
                    <a:pt x="258" y="118"/>
                    <a:pt x="238" y="138"/>
                    <a:pt x="213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Oval 10">
              <a:extLst>
                <a:ext uri="{FF2B5EF4-FFF2-40B4-BE49-F238E27FC236}">
                  <a16:creationId xmlns:a16="http://schemas.microsoft.com/office/drawing/2014/main" id="{1C20FA18-C9AD-2282-14B8-62CB87C26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7" y="1811"/>
              <a:ext cx="322" cy="32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245F76D8-5CF0-C7A9-4DE4-E51C19E22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" y="2166"/>
              <a:ext cx="550" cy="313"/>
            </a:xfrm>
            <a:custGeom>
              <a:avLst/>
              <a:gdLst>
                <a:gd name="T0" fmla="*/ 107 w 231"/>
                <a:gd name="T1" fmla="*/ 0 h 131"/>
                <a:gd name="T2" fmla="*/ 107 w 231"/>
                <a:gd name="T3" fmla="*/ 0 h 131"/>
                <a:gd name="T4" fmla="*/ 76 w 231"/>
                <a:gd name="T5" fmla="*/ 4 h 131"/>
                <a:gd name="T6" fmla="*/ 64 w 231"/>
                <a:gd name="T7" fmla="*/ 7 h 131"/>
                <a:gd name="T8" fmla="*/ 42 w 231"/>
                <a:gd name="T9" fmla="*/ 18 h 131"/>
                <a:gd name="T10" fmla="*/ 33 w 231"/>
                <a:gd name="T11" fmla="*/ 25 h 131"/>
                <a:gd name="T12" fmla="*/ 28 w 231"/>
                <a:gd name="T13" fmla="*/ 28 h 131"/>
                <a:gd name="T14" fmla="*/ 0 w 231"/>
                <a:gd name="T15" fmla="*/ 60 h 131"/>
                <a:gd name="T16" fmla="*/ 7 w 231"/>
                <a:gd name="T17" fmla="*/ 60 h 131"/>
                <a:gd name="T18" fmla="*/ 79 w 231"/>
                <a:gd name="T19" fmla="*/ 97 h 131"/>
                <a:gd name="T20" fmla="*/ 89 w 231"/>
                <a:gd name="T21" fmla="*/ 96 h 131"/>
                <a:gd name="T22" fmla="*/ 150 w 231"/>
                <a:gd name="T23" fmla="*/ 131 h 131"/>
                <a:gd name="T24" fmla="*/ 231 w 231"/>
                <a:gd name="T25" fmla="*/ 131 h 131"/>
                <a:gd name="T26" fmla="*/ 231 w 231"/>
                <a:gd name="T27" fmla="*/ 124 h 131"/>
                <a:gd name="T28" fmla="*/ 107 w 231"/>
                <a:gd name="T2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131">
                  <a:moveTo>
                    <a:pt x="107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96" y="0"/>
                    <a:pt x="86" y="1"/>
                    <a:pt x="76" y="4"/>
                  </a:cubicBezTo>
                  <a:cubicBezTo>
                    <a:pt x="72" y="5"/>
                    <a:pt x="68" y="6"/>
                    <a:pt x="64" y="7"/>
                  </a:cubicBezTo>
                  <a:cubicBezTo>
                    <a:pt x="57" y="10"/>
                    <a:pt x="49" y="14"/>
                    <a:pt x="42" y="18"/>
                  </a:cubicBezTo>
                  <a:cubicBezTo>
                    <a:pt x="39" y="20"/>
                    <a:pt x="36" y="22"/>
                    <a:pt x="33" y="25"/>
                  </a:cubicBezTo>
                  <a:cubicBezTo>
                    <a:pt x="31" y="26"/>
                    <a:pt x="29" y="27"/>
                    <a:pt x="28" y="28"/>
                  </a:cubicBezTo>
                  <a:cubicBezTo>
                    <a:pt x="17" y="37"/>
                    <a:pt x="8" y="48"/>
                    <a:pt x="0" y="60"/>
                  </a:cubicBezTo>
                  <a:cubicBezTo>
                    <a:pt x="3" y="60"/>
                    <a:pt x="5" y="60"/>
                    <a:pt x="7" y="60"/>
                  </a:cubicBezTo>
                  <a:cubicBezTo>
                    <a:pt x="36" y="60"/>
                    <a:pt x="63" y="74"/>
                    <a:pt x="79" y="97"/>
                  </a:cubicBezTo>
                  <a:cubicBezTo>
                    <a:pt x="83" y="96"/>
                    <a:pt x="86" y="96"/>
                    <a:pt x="89" y="96"/>
                  </a:cubicBezTo>
                  <a:cubicBezTo>
                    <a:pt x="115" y="96"/>
                    <a:pt x="137" y="110"/>
                    <a:pt x="150" y="131"/>
                  </a:cubicBezTo>
                  <a:cubicBezTo>
                    <a:pt x="231" y="131"/>
                    <a:pt x="231" y="131"/>
                    <a:pt x="231" y="131"/>
                  </a:cubicBezTo>
                  <a:cubicBezTo>
                    <a:pt x="231" y="124"/>
                    <a:pt x="231" y="124"/>
                    <a:pt x="231" y="124"/>
                  </a:cubicBezTo>
                  <a:cubicBezTo>
                    <a:pt x="231" y="55"/>
                    <a:pt x="175" y="0"/>
                    <a:pt x="10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38D0723A-DDAC-5996-3513-63A0B9DF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1897"/>
              <a:ext cx="133" cy="48"/>
            </a:xfrm>
            <a:custGeom>
              <a:avLst/>
              <a:gdLst>
                <a:gd name="T0" fmla="*/ 44 w 56"/>
                <a:gd name="T1" fmla="*/ 20 h 20"/>
                <a:gd name="T2" fmla="*/ 56 w 56"/>
                <a:gd name="T3" fmla="*/ 10 h 20"/>
                <a:gd name="T4" fmla="*/ 0 w 56"/>
                <a:gd name="T5" fmla="*/ 0 h 20"/>
                <a:gd name="T6" fmla="*/ 4 w 56"/>
                <a:gd name="T7" fmla="*/ 13 h 20"/>
                <a:gd name="T8" fmla="*/ 44 w 5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0">
                  <a:moveTo>
                    <a:pt x="44" y="20"/>
                  </a:moveTo>
                  <a:cubicBezTo>
                    <a:pt x="47" y="16"/>
                    <a:pt x="51" y="13"/>
                    <a:pt x="56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3" y="8"/>
                    <a:pt x="4" y="13"/>
                  </a:cubicBezTo>
                  <a:lnTo>
                    <a:pt x="4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92BC6491-AC8A-1FDF-3BBB-F110280D8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1806"/>
              <a:ext cx="169" cy="57"/>
            </a:xfrm>
            <a:custGeom>
              <a:avLst/>
              <a:gdLst>
                <a:gd name="T0" fmla="*/ 62 w 71"/>
                <a:gd name="T1" fmla="*/ 24 h 24"/>
                <a:gd name="T2" fmla="*/ 71 w 71"/>
                <a:gd name="T3" fmla="*/ 13 h 24"/>
                <a:gd name="T4" fmla="*/ 0 w 71"/>
                <a:gd name="T5" fmla="*/ 0 h 24"/>
                <a:gd name="T6" fmla="*/ 8 w 71"/>
                <a:gd name="T7" fmla="*/ 14 h 24"/>
                <a:gd name="T8" fmla="*/ 62 w 71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4">
                  <a:moveTo>
                    <a:pt x="62" y="24"/>
                  </a:moveTo>
                  <a:cubicBezTo>
                    <a:pt x="65" y="20"/>
                    <a:pt x="68" y="16"/>
                    <a:pt x="71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9"/>
                    <a:pt x="8" y="14"/>
                  </a:cubicBezTo>
                  <a:lnTo>
                    <a:pt x="6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5D9BE57A-40B5-38E7-856C-0CDFCCDD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2090"/>
              <a:ext cx="164" cy="124"/>
            </a:xfrm>
            <a:custGeom>
              <a:avLst/>
              <a:gdLst>
                <a:gd name="T0" fmla="*/ 0 w 69"/>
                <a:gd name="T1" fmla="*/ 45 h 52"/>
                <a:gd name="T2" fmla="*/ 10 w 69"/>
                <a:gd name="T3" fmla="*/ 52 h 52"/>
                <a:gd name="T4" fmla="*/ 69 w 69"/>
                <a:gd name="T5" fmla="*/ 0 h 52"/>
                <a:gd name="T6" fmla="*/ 51 w 69"/>
                <a:gd name="T7" fmla="*/ 0 h 52"/>
                <a:gd name="T8" fmla="*/ 0 w 69"/>
                <a:gd name="T9" fmla="*/ 4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52">
                  <a:moveTo>
                    <a:pt x="0" y="45"/>
                  </a:moveTo>
                  <a:cubicBezTo>
                    <a:pt x="4" y="47"/>
                    <a:pt x="7" y="50"/>
                    <a:pt x="10" y="52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792FBFD4-9739-CC01-25E6-FA35A43D0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1940"/>
              <a:ext cx="119" cy="367"/>
            </a:xfrm>
            <a:custGeom>
              <a:avLst/>
              <a:gdLst>
                <a:gd name="T0" fmla="*/ 0 w 50"/>
                <a:gd name="T1" fmla="*/ 0 h 154"/>
                <a:gd name="T2" fmla="*/ 41 w 50"/>
                <a:gd name="T3" fmla="*/ 154 h 154"/>
                <a:gd name="T4" fmla="*/ 44 w 50"/>
                <a:gd name="T5" fmla="*/ 149 h 154"/>
                <a:gd name="T6" fmla="*/ 50 w 50"/>
                <a:gd name="T7" fmla="*/ 140 h 154"/>
                <a:gd name="T8" fmla="*/ 12 w 50"/>
                <a:gd name="T9" fmla="*/ 0 h 154"/>
                <a:gd name="T10" fmla="*/ 0 w 50"/>
                <a:gd name="T1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154">
                  <a:moveTo>
                    <a:pt x="0" y="0"/>
                  </a:moveTo>
                  <a:cubicBezTo>
                    <a:pt x="41" y="154"/>
                    <a:pt x="41" y="154"/>
                    <a:pt x="41" y="154"/>
                  </a:cubicBezTo>
                  <a:cubicBezTo>
                    <a:pt x="44" y="149"/>
                    <a:pt x="44" y="149"/>
                    <a:pt x="44" y="149"/>
                  </a:cubicBezTo>
                  <a:cubicBezTo>
                    <a:pt x="46" y="146"/>
                    <a:pt x="48" y="143"/>
                    <a:pt x="50" y="14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Oval 16">
              <a:extLst>
                <a:ext uri="{FF2B5EF4-FFF2-40B4-BE49-F238E27FC236}">
                  <a16:creationId xmlns:a16="http://schemas.microsoft.com/office/drawing/2014/main" id="{667A212C-4EAC-58C8-6F0F-E9804AFC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1" y="1770"/>
              <a:ext cx="140" cy="1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5E348E4D-25FB-B0C3-7BD7-2EA252EF3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" y="1925"/>
              <a:ext cx="260" cy="136"/>
            </a:xfrm>
            <a:custGeom>
              <a:avLst/>
              <a:gdLst>
                <a:gd name="T0" fmla="*/ 54 w 109"/>
                <a:gd name="T1" fmla="*/ 0 h 57"/>
                <a:gd name="T2" fmla="*/ 0 w 109"/>
                <a:gd name="T3" fmla="*/ 54 h 57"/>
                <a:gd name="T4" fmla="*/ 0 w 109"/>
                <a:gd name="T5" fmla="*/ 54 h 57"/>
                <a:gd name="T6" fmla="*/ 3 w 109"/>
                <a:gd name="T7" fmla="*/ 57 h 57"/>
                <a:gd name="T8" fmla="*/ 106 w 109"/>
                <a:gd name="T9" fmla="*/ 57 h 57"/>
                <a:gd name="T10" fmla="*/ 109 w 109"/>
                <a:gd name="T11" fmla="*/ 54 h 57"/>
                <a:gd name="T12" fmla="*/ 109 w 109"/>
                <a:gd name="T13" fmla="*/ 54 h 57"/>
                <a:gd name="T14" fmla="*/ 54 w 109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57">
                  <a:moveTo>
                    <a:pt x="54" y="0"/>
                  </a:moveTo>
                  <a:cubicBezTo>
                    <a:pt x="24" y="0"/>
                    <a:pt x="0" y="2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1" y="57"/>
                    <a:pt x="3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8" y="57"/>
                    <a:pt x="109" y="56"/>
                    <a:pt x="109" y="54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3" name="Group 4">
            <a:extLst>
              <a:ext uri="{FF2B5EF4-FFF2-40B4-BE49-F238E27FC236}">
                <a16:creationId xmlns:a16="http://schemas.microsoft.com/office/drawing/2014/main" id="{BC5B97A5-B82F-4FDD-8D96-7B625032E2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4137" y="1811139"/>
            <a:ext cx="1414504" cy="1004888"/>
            <a:chOff x="3601" y="1990"/>
            <a:chExt cx="480" cy="341"/>
          </a:xfrm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B7F8B96E-48E4-4674-A576-B3B3CE72B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4" y="1990"/>
              <a:ext cx="89" cy="88"/>
            </a:xfrm>
            <a:custGeom>
              <a:avLst/>
              <a:gdLst>
                <a:gd name="T0" fmla="*/ 45 w 89"/>
                <a:gd name="T1" fmla="*/ 88 h 88"/>
                <a:gd name="T2" fmla="*/ 45 w 89"/>
                <a:gd name="T3" fmla="*/ 88 h 88"/>
                <a:gd name="T4" fmla="*/ 54 w 89"/>
                <a:gd name="T5" fmla="*/ 87 h 88"/>
                <a:gd name="T6" fmla="*/ 63 w 89"/>
                <a:gd name="T7" fmla="*/ 84 h 88"/>
                <a:gd name="T8" fmla="*/ 70 w 89"/>
                <a:gd name="T9" fmla="*/ 80 h 88"/>
                <a:gd name="T10" fmla="*/ 77 w 89"/>
                <a:gd name="T11" fmla="*/ 75 h 88"/>
                <a:gd name="T12" fmla="*/ 82 w 89"/>
                <a:gd name="T13" fmla="*/ 68 h 88"/>
                <a:gd name="T14" fmla="*/ 86 w 89"/>
                <a:gd name="T15" fmla="*/ 61 h 88"/>
                <a:gd name="T16" fmla="*/ 89 w 89"/>
                <a:gd name="T17" fmla="*/ 53 h 88"/>
                <a:gd name="T18" fmla="*/ 89 w 89"/>
                <a:gd name="T19" fmla="*/ 44 h 88"/>
                <a:gd name="T20" fmla="*/ 89 w 89"/>
                <a:gd name="T21" fmla="*/ 44 h 88"/>
                <a:gd name="T22" fmla="*/ 89 w 89"/>
                <a:gd name="T23" fmla="*/ 35 h 88"/>
                <a:gd name="T24" fmla="*/ 86 w 89"/>
                <a:gd name="T25" fmla="*/ 26 h 88"/>
                <a:gd name="T26" fmla="*/ 82 w 89"/>
                <a:gd name="T27" fmla="*/ 19 h 88"/>
                <a:gd name="T28" fmla="*/ 77 w 89"/>
                <a:gd name="T29" fmla="*/ 13 h 88"/>
                <a:gd name="T30" fmla="*/ 70 w 89"/>
                <a:gd name="T31" fmla="*/ 7 h 88"/>
                <a:gd name="T32" fmla="*/ 63 w 89"/>
                <a:gd name="T33" fmla="*/ 3 h 88"/>
                <a:gd name="T34" fmla="*/ 54 w 89"/>
                <a:gd name="T35" fmla="*/ 0 h 88"/>
                <a:gd name="T36" fmla="*/ 45 w 89"/>
                <a:gd name="T37" fmla="*/ 0 h 88"/>
                <a:gd name="T38" fmla="*/ 45 w 89"/>
                <a:gd name="T39" fmla="*/ 0 h 88"/>
                <a:gd name="T40" fmla="*/ 36 w 89"/>
                <a:gd name="T41" fmla="*/ 0 h 88"/>
                <a:gd name="T42" fmla="*/ 28 w 89"/>
                <a:gd name="T43" fmla="*/ 3 h 88"/>
                <a:gd name="T44" fmla="*/ 21 w 89"/>
                <a:gd name="T45" fmla="*/ 7 h 88"/>
                <a:gd name="T46" fmla="*/ 14 w 89"/>
                <a:gd name="T47" fmla="*/ 13 h 88"/>
                <a:gd name="T48" fmla="*/ 9 w 89"/>
                <a:gd name="T49" fmla="*/ 19 h 88"/>
                <a:gd name="T50" fmla="*/ 5 w 89"/>
                <a:gd name="T51" fmla="*/ 26 h 88"/>
                <a:gd name="T52" fmla="*/ 1 w 89"/>
                <a:gd name="T53" fmla="*/ 35 h 88"/>
                <a:gd name="T54" fmla="*/ 0 w 89"/>
                <a:gd name="T55" fmla="*/ 44 h 88"/>
                <a:gd name="T56" fmla="*/ 0 w 89"/>
                <a:gd name="T57" fmla="*/ 44 h 88"/>
                <a:gd name="T58" fmla="*/ 1 w 89"/>
                <a:gd name="T59" fmla="*/ 53 h 88"/>
                <a:gd name="T60" fmla="*/ 5 w 89"/>
                <a:gd name="T61" fmla="*/ 61 h 88"/>
                <a:gd name="T62" fmla="*/ 9 w 89"/>
                <a:gd name="T63" fmla="*/ 68 h 88"/>
                <a:gd name="T64" fmla="*/ 14 w 89"/>
                <a:gd name="T65" fmla="*/ 75 h 88"/>
                <a:gd name="T66" fmla="*/ 21 w 89"/>
                <a:gd name="T67" fmla="*/ 80 h 88"/>
                <a:gd name="T68" fmla="*/ 28 w 89"/>
                <a:gd name="T69" fmla="*/ 84 h 88"/>
                <a:gd name="T70" fmla="*/ 36 w 89"/>
                <a:gd name="T71" fmla="*/ 87 h 88"/>
                <a:gd name="T72" fmla="*/ 45 w 89"/>
                <a:gd name="T73" fmla="*/ 88 h 88"/>
                <a:gd name="T74" fmla="*/ 45 w 89"/>
                <a:gd name="T7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" h="88">
                  <a:moveTo>
                    <a:pt x="45" y="88"/>
                  </a:moveTo>
                  <a:lnTo>
                    <a:pt x="45" y="88"/>
                  </a:lnTo>
                  <a:lnTo>
                    <a:pt x="54" y="87"/>
                  </a:lnTo>
                  <a:lnTo>
                    <a:pt x="63" y="84"/>
                  </a:lnTo>
                  <a:lnTo>
                    <a:pt x="70" y="80"/>
                  </a:lnTo>
                  <a:lnTo>
                    <a:pt x="77" y="75"/>
                  </a:lnTo>
                  <a:lnTo>
                    <a:pt x="82" y="68"/>
                  </a:lnTo>
                  <a:lnTo>
                    <a:pt x="86" y="61"/>
                  </a:lnTo>
                  <a:lnTo>
                    <a:pt x="89" y="5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35"/>
                  </a:lnTo>
                  <a:lnTo>
                    <a:pt x="86" y="26"/>
                  </a:lnTo>
                  <a:lnTo>
                    <a:pt x="82" y="19"/>
                  </a:lnTo>
                  <a:lnTo>
                    <a:pt x="77" y="13"/>
                  </a:lnTo>
                  <a:lnTo>
                    <a:pt x="70" y="7"/>
                  </a:lnTo>
                  <a:lnTo>
                    <a:pt x="63" y="3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3"/>
                  </a:lnTo>
                  <a:lnTo>
                    <a:pt x="21" y="7"/>
                  </a:lnTo>
                  <a:lnTo>
                    <a:pt x="14" y="13"/>
                  </a:lnTo>
                  <a:lnTo>
                    <a:pt x="9" y="19"/>
                  </a:lnTo>
                  <a:lnTo>
                    <a:pt x="5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3"/>
                  </a:lnTo>
                  <a:lnTo>
                    <a:pt x="5" y="61"/>
                  </a:lnTo>
                  <a:lnTo>
                    <a:pt x="9" y="68"/>
                  </a:lnTo>
                  <a:lnTo>
                    <a:pt x="14" y="75"/>
                  </a:lnTo>
                  <a:lnTo>
                    <a:pt x="21" y="80"/>
                  </a:lnTo>
                  <a:lnTo>
                    <a:pt x="28" y="84"/>
                  </a:lnTo>
                  <a:lnTo>
                    <a:pt x="36" y="87"/>
                  </a:lnTo>
                  <a:lnTo>
                    <a:pt x="45" y="88"/>
                  </a:lnTo>
                  <a:lnTo>
                    <a:pt x="45" y="8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C6239AB3-754D-44A5-8B3B-CE5D61BBF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5" y="1990"/>
              <a:ext cx="89" cy="88"/>
            </a:xfrm>
            <a:custGeom>
              <a:avLst/>
              <a:gdLst>
                <a:gd name="T0" fmla="*/ 45 w 89"/>
                <a:gd name="T1" fmla="*/ 88 h 88"/>
                <a:gd name="T2" fmla="*/ 45 w 89"/>
                <a:gd name="T3" fmla="*/ 88 h 88"/>
                <a:gd name="T4" fmla="*/ 54 w 89"/>
                <a:gd name="T5" fmla="*/ 87 h 88"/>
                <a:gd name="T6" fmla="*/ 62 w 89"/>
                <a:gd name="T7" fmla="*/ 84 h 88"/>
                <a:gd name="T8" fmla="*/ 70 w 89"/>
                <a:gd name="T9" fmla="*/ 80 h 88"/>
                <a:gd name="T10" fmla="*/ 76 w 89"/>
                <a:gd name="T11" fmla="*/ 75 h 88"/>
                <a:gd name="T12" fmla="*/ 82 w 89"/>
                <a:gd name="T13" fmla="*/ 68 h 88"/>
                <a:gd name="T14" fmla="*/ 86 w 89"/>
                <a:gd name="T15" fmla="*/ 61 h 88"/>
                <a:gd name="T16" fmla="*/ 88 w 89"/>
                <a:gd name="T17" fmla="*/ 53 h 88"/>
                <a:gd name="T18" fmla="*/ 89 w 89"/>
                <a:gd name="T19" fmla="*/ 44 h 88"/>
                <a:gd name="T20" fmla="*/ 89 w 89"/>
                <a:gd name="T21" fmla="*/ 44 h 88"/>
                <a:gd name="T22" fmla="*/ 88 w 89"/>
                <a:gd name="T23" fmla="*/ 35 h 88"/>
                <a:gd name="T24" fmla="*/ 86 w 89"/>
                <a:gd name="T25" fmla="*/ 26 h 88"/>
                <a:gd name="T26" fmla="*/ 82 w 89"/>
                <a:gd name="T27" fmla="*/ 19 h 88"/>
                <a:gd name="T28" fmla="*/ 76 w 89"/>
                <a:gd name="T29" fmla="*/ 13 h 88"/>
                <a:gd name="T30" fmla="*/ 70 w 89"/>
                <a:gd name="T31" fmla="*/ 7 h 88"/>
                <a:gd name="T32" fmla="*/ 62 w 89"/>
                <a:gd name="T33" fmla="*/ 3 h 88"/>
                <a:gd name="T34" fmla="*/ 54 w 89"/>
                <a:gd name="T35" fmla="*/ 0 h 88"/>
                <a:gd name="T36" fmla="*/ 45 w 89"/>
                <a:gd name="T37" fmla="*/ 0 h 88"/>
                <a:gd name="T38" fmla="*/ 45 w 89"/>
                <a:gd name="T39" fmla="*/ 0 h 88"/>
                <a:gd name="T40" fmla="*/ 36 w 89"/>
                <a:gd name="T41" fmla="*/ 0 h 88"/>
                <a:gd name="T42" fmla="*/ 28 w 89"/>
                <a:gd name="T43" fmla="*/ 3 h 88"/>
                <a:gd name="T44" fmla="*/ 20 w 89"/>
                <a:gd name="T45" fmla="*/ 7 h 88"/>
                <a:gd name="T46" fmla="*/ 13 w 89"/>
                <a:gd name="T47" fmla="*/ 13 h 88"/>
                <a:gd name="T48" fmla="*/ 7 w 89"/>
                <a:gd name="T49" fmla="*/ 19 h 88"/>
                <a:gd name="T50" fmla="*/ 3 w 89"/>
                <a:gd name="T51" fmla="*/ 26 h 88"/>
                <a:gd name="T52" fmla="*/ 1 w 89"/>
                <a:gd name="T53" fmla="*/ 35 h 88"/>
                <a:gd name="T54" fmla="*/ 0 w 89"/>
                <a:gd name="T55" fmla="*/ 44 h 88"/>
                <a:gd name="T56" fmla="*/ 0 w 89"/>
                <a:gd name="T57" fmla="*/ 44 h 88"/>
                <a:gd name="T58" fmla="*/ 1 w 89"/>
                <a:gd name="T59" fmla="*/ 53 h 88"/>
                <a:gd name="T60" fmla="*/ 3 w 89"/>
                <a:gd name="T61" fmla="*/ 61 h 88"/>
                <a:gd name="T62" fmla="*/ 7 w 89"/>
                <a:gd name="T63" fmla="*/ 68 h 88"/>
                <a:gd name="T64" fmla="*/ 13 w 89"/>
                <a:gd name="T65" fmla="*/ 75 h 88"/>
                <a:gd name="T66" fmla="*/ 20 w 89"/>
                <a:gd name="T67" fmla="*/ 80 h 88"/>
                <a:gd name="T68" fmla="*/ 28 w 89"/>
                <a:gd name="T69" fmla="*/ 84 h 88"/>
                <a:gd name="T70" fmla="*/ 36 w 89"/>
                <a:gd name="T71" fmla="*/ 87 h 88"/>
                <a:gd name="T72" fmla="*/ 45 w 89"/>
                <a:gd name="T73" fmla="*/ 88 h 88"/>
                <a:gd name="T74" fmla="*/ 45 w 89"/>
                <a:gd name="T7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" h="88">
                  <a:moveTo>
                    <a:pt x="45" y="88"/>
                  </a:moveTo>
                  <a:lnTo>
                    <a:pt x="45" y="88"/>
                  </a:lnTo>
                  <a:lnTo>
                    <a:pt x="54" y="87"/>
                  </a:lnTo>
                  <a:lnTo>
                    <a:pt x="62" y="84"/>
                  </a:lnTo>
                  <a:lnTo>
                    <a:pt x="70" y="80"/>
                  </a:lnTo>
                  <a:lnTo>
                    <a:pt x="76" y="75"/>
                  </a:lnTo>
                  <a:lnTo>
                    <a:pt x="82" y="68"/>
                  </a:lnTo>
                  <a:lnTo>
                    <a:pt x="86" y="61"/>
                  </a:lnTo>
                  <a:lnTo>
                    <a:pt x="88" y="5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8" y="35"/>
                  </a:lnTo>
                  <a:lnTo>
                    <a:pt x="86" y="26"/>
                  </a:lnTo>
                  <a:lnTo>
                    <a:pt x="82" y="19"/>
                  </a:lnTo>
                  <a:lnTo>
                    <a:pt x="76" y="13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3"/>
                  </a:lnTo>
                  <a:lnTo>
                    <a:pt x="20" y="7"/>
                  </a:lnTo>
                  <a:lnTo>
                    <a:pt x="13" y="13"/>
                  </a:lnTo>
                  <a:lnTo>
                    <a:pt x="7" y="19"/>
                  </a:lnTo>
                  <a:lnTo>
                    <a:pt x="3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3"/>
                  </a:lnTo>
                  <a:lnTo>
                    <a:pt x="3" y="61"/>
                  </a:lnTo>
                  <a:lnTo>
                    <a:pt x="7" y="68"/>
                  </a:lnTo>
                  <a:lnTo>
                    <a:pt x="13" y="75"/>
                  </a:lnTo>
                  <a:lnTo>
                    <a:pt x="20" y="80"/>
                  </a:lnTo>
                  <a:lnTo>
                    <a:pt x="28" y="84"/>
                  </a:lnTo>
                  <a:lnTo>
                    <a:pt x="36" y="87"/>
                  </a:lnTo>
                  <a:lnTo>
                    <a:pt x="45" y="88"/>
                  </a:lnTo>
                  <a:lnTo>
                    <a:pt x="45" y="8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8D9F09F4-29CA-4E37-8396-7DA5F2F4E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9" y="2084"/>
              <a:ext cx="101" cy="125"/>
            </a:xfrm>
            <a:custGeom>
              <a:avLst/>
              <a:gdLst>
                <a:gd name="T0" fmla="*/ 79 w 101"/>
                <a:gd name="T1" fmla="*/ 119 h 125"/>
                <a:gd name="T2" fmla="*/ 79 w 101"/>
                <a:gd name="T3" fmla="*/ 119 h 125"/>
                <a:gd name="T4" fmla="*/ 94 w 101"/>
                <a:gd name="T5" fmla="*/ 125 h 125"/>
                <a:gd name="T6" fmla="*/ 101 w 101"/>
                <a:gd name="T7" fmla="*/ 0 h 125"/>
                <a:gd name="T8" fmla="*/ 76 w 101"/>
                <a:gd name="T9" fmla="*/ 0 h 125"/>
                <a:gd name="T10" fmla="*/ 51 w 101"/>
                <a:gd name="T11" fmla="*/ 38 h 125"/>
                <a:gd name="T12" fmla="*/ 25 w 101"/>
                <a:gd name="T13" fmla="*/ 0 h 125"/>
                <a:gd name="T14" fmla="*/ 0 w 101"/>
                <a:gd name="T15" fmla="*/ 0 h 125"/>
                <a:gd name="T16" fmla="*/ 5 w 101"/>
                <a:gd name="T17" fmla="*/ 95 h 125"/>
                <a:gd name="T18" fmla="*/ 5 w 101"/>
                <a:gd name="T19" fmla="*/ 95 h 125"/>
                <a:gd name="T20" fmla="*/ 24 w 101"/>
                <a:gd name="T21" fmla="*/ 100 h 125"/>
                <a:gd name="T22" fmla="*/ 43 w 101"/>
                <a:gd name="T23" fmla="*/ 105 h 125"/>
                <a:gd name="T24" fmla="*/ 61 w 101"/>
                <a:gd name="T25" fmla="*/ 111 h 125"/>
                <a:gd name="T26" fmla="*/ 79 w 101"/>
                <a:gd name="T27" fmla="*/ 119 h 125"/>
                <a:gd name="T28" fmla="*/ 79 w 101"/>
                <a:gd name="T29" fmla="*/ 11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25">
                  <a:moveTo>
                    <a:pt x="79" y="119"/>
                  </a:moveTo>
                  <a:lnTo>
                    <a:pt x="79" y="119"/>
                  </a:lnTo>
                  <a:lnTo>
                    <a:pt x="94" y="125"/>
                  </a:lnTo>
                  <a:lnTo>
                    <a:pt x="101" y="0"/>
                  </a:lnTo>
                  <a:lnTo>
                    <a:pt x="76" y="0"/>
                  </a:lnTo>
                  <a:lnTo>
                    <a:pt x="51" y="38"/>
                  </a:lnTo>
                  <a:lnTo>
                    <a:pt x="25" y="0"/>
                  </a:lnTo>
                  <a:lnTo>
                    <a:pt x="0" y="0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24" y="100"/>
                  </a:lnTo>
                  <a:lnTo>
                    <a:pt x="43" y="105"/>
                  </a:lnTo>
                  <a:lnTo>
                    <a:pt x="61" y="111"/>
                  </a:lnTo>
                  <a:lnTo>
                    <a:pt x="79" y="119"/>
                  </a:lnTo>
                  <a:lnTo>
                    <a:pt x="79" y="11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A0CCA841-4D88-4355-B3A4-451718C4E6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2180"/>
              <a:ext cx="480" cy="151"/>
            </a:xfrm>
            <a:custGeom>
              <a:avLst/>
              <a:gdLst>
                <a:gd name="T0" fmla="*/ 240 w 480"/>
                <a:gd name="T1" fmla="*/ 0 h 151"/>
                <a:gd name="T2" fmla="*/ 240 w 480"/>
                <a:gd name="T3" fmla="*/ 0 h 151"/>
                <a:gd name="T4" fmla="*/ 197 w 480"/>
                <a:gd name="T5" fmla="*/ 3 h 151"/>
                <a:gd name="T6" fmla="*/ 154 w 480"/>
                <a:gd name="T7" fmla="*/ 10 h 151"/>
                <a:gd name="T8" fmla="*/ 114 w 480"/>
                <a:gd name="T9" fmla="*/ 20 h 151"/>
                <a:gd name="T10" fmla="*/ 77 w 480"/>
                <a:gd name="T11" fmla="*/ 34 h 151"/>
                <a:gd name="T12" fmla="*/ 45 w 480"/>
                <a:gd name="T13" fmla="*/ 48 h 151"/>
                <a:gd name="T14" fmla="*/ 21 w 480"/>
                <a:gd name="T15" fmla="*/ 63 h 151"/>
                <a:gd name="T16" fmla="*/ 5 w 480"/>
                <a:gd name="T17" fmla="*/ 77 h 151"/>
                <a:gd name="T18" fmla="*/ 0 w 480"/>
                <a:gd name="T19" fmla="*/ 87 h 151"/>
                <a:gd name="T20" fmla="*/ 0 w 480"/>
                <a:gd name="T21" fmla="*/ 89 h 151"/>
                <a:gd name="T22" fmla="*/ 4 w 480"/>
                <a:gd name="T23" fmla="*/ 100 h 151"/>
                <a:gd name="T24" fmla="*/ 17 w 480"/>
                <a:gd name="T25" fmla="*/ 111 h 151"/>
                <a:gd name="T26" fmla="*/ 38 w 480"/>
                <a:gd name="T27" fmla="*/ 122 h 151"/>
                <a:gd name="T28" fmla="*/ 67 w 480"/>
                <a:gd name="T29" fmla="*/ 131 h 151"/>
                <a:gd name="T30" fmla="*/ 100 w 480"/>
                <a:gd name="T31" fmla="*/ 139 h 151"/>
                <a:gd name="T32" fmla="*/ 142 w 480"/>
                <a:gd name="T33" fmla="*/ 146 h 151"/>
                <a:gd name="T34" fmla="*/ 188 w 480"/>
                <a:gd name="T35" fmla="*/ 149 h 151"/>
                <a:gd name="T36" fmla="*/ 240 w 480"/>
                <a:gd name="T37" fmla="*/ 151 h 151"/>
                <a:gd name="T38" fmla="*/ 240 w 480"/>
                <a:gd name="T39" fmla="*/ 151 h 151"/>
                <a:gd name="T40" fmla="*/ 291 w 480"/>
                <a:gd name="T41" fmla="*/ 149 h 151"/>
                <a:gd name="T42" fmla="*/ 337 w 480"/>
                <a:gd name="T43" fmla="*/ 146 h 151"/>
                <a:gd name="T44" fmla="*/ 379 w 480"/>
                <a:gd name="T45" fmla="*/ 139 h 151"/>
                <a:gd name="T46" fmla="*/ 413 w 480"/>
                <a:gd name="T47" fmla="*/ 131 h 151"/>
                <a:gd name="T48" fmla="*/ 442 w 480"/>
                <a:gd name="T49" fmla="*/ 122 h 151"/>
                <a:gd name="T50" fmla="*/ 462 w 480"/>
                <a:gd name="T51" fmla="*/ 111 h 151"/>
                <a:gd name="T52" fmla="*/ 475 w 480"/>
                <a:gd name="T53" fmla="*/ 100 h 151"/>
                <a:gd name="T54" fmla="*/ 480 w 480"/>
                <a:gd name="T55" fmla="*/ 89 h 151"/>
                <a:gd name="T56" fmla="*/ 479 w 480"/>
                <a:gd name="T57" fmla="*/ 87 h 151"/>
                <a:gd name="T58" fmla="*/ 474 w 480"/>
                <a:gd name="T59" fmla="*/ 77 h 151"/>
                <a:gd name="T60" fmla="*/ 458 w 480"/>
                <a:gd name="T61" fmla="*/ 63 h 151"/>
                <a:gd name="T62" fmla="*/ 433 w 480"/>
                <a:gd name="T63" fmla="*/ 48 h 151"/>
                <a:gd name="T64" fmla="*/ 403 w 480"/>
                <a:gd name="T65" fmla="*/ 34 h 151"/>
                <a:gd name="T66" fmla="*/ 366 w 480"/>
                <a:gd name="T67" fmla="*/ 20 h 151"/>
                <a:gd name="T68" fmla="*/ 326 w 480"/>
                <a:gd name="T69" fmla="*/ 10 h 151"/>
                <a:gd name="T70" fmla="*/ 283 w 480"/>
                <a:gd name="T71" fmla="*/ 3 h 151"/>
                <a:gd name="T72" fmla="*/ 240 w 480"/>
                <a:gd name="T73" fmla="*/ 0 h 151"/>
                <a:gd name="T74" fmla="*/ 266 w 480"/>
                <a:gd name="T75" fmla="*/ 80 h 151"/>
                <a:gd name="T76" fmla="*/ 168 w 480"/>
                <a:gd name="T77" fmla="*/ 38 h 151"/>
                <a:gd name="T78" fmla="*/ 266 w 480"/>
                <a:gd name="T79" fmla="*/ 8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0" h="151">
                  <a:moveTo>
                    <a:pt x="240" y="0"/>
                  </a:move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18" y="2"/>
                  </a:lnTo>
                  <a:lnTo>
                    <a:pt x="197" y="3"/>
                  </a:lnTo>
                  <a:lnTo>
                    <a:pt x="176" y="6"/>
                  </a:lnTo>
                  <a:lnTo>
                    <a:pt x="154" y="10"/>
                  </a:lnTo>
                  <a:lnTo>
                    <a:pt x="133" y="15"/>
                  </a:lnTo>
                  <a:lnTo>
                    <a:pt x="114" y="20"/>
                  </a:lnTo>
                  <a:lnTo>
                    <a:pt x="95" y="27"/>
                  </a:lnTo>
                  <a:lnTo>
                    <a:pt x="77" y="34"/>
                  </a:lnTo>
                  <a:lnTo>
                    <a:pt x="60" y="40"/>
                  </a:lnTo>
                  <a:lnTo>
                    <a:pt x="45" y="48"/>
                  </a:lnTo>
                  <a:lnTo>
                    <a:pt x="33" y="55"/>
                  </a:lnTo>
                  <a:lnTo>
                    <a:pt x="21" y="63"/>
                  </a:lnTo>
                  <a:lnTo>
                    <a:pt x="13" y="70"/>
                  </a:lnTo>
                  <a:lnTo>
                    <a:pt x="5" y="77"/>
                  </a:lnTo>
                  <a:lnTo>
                    <a:pt x="1" y="84"/>
                  </a:lnTo>
                  <a:lnTo>
                    <a:pt x="0" y="87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1" y="95"/>
                  </a:lnTo>
                  <a:lnTo>
                    <a:pt x="4" y="100"/>
                  </a:lnTo>
                  <a:lnTo>
                    <a:pt x="10" y="106"/>
                  </a:lnTo>
                  <a:lnTo>
                    <a:pt x="17" y="111"/>
                  </a:lnTo>
                  <a:lnTo>
                    <a:pt x="26" y="116"/>
                  </a:lnTo>
                  <a:lnTo>
                    <a:pt x="38" y="122"/>
                  </a:lnTo>
                  <a:lnTo>
                    <a:pt x="51" y="127"/>
                  </a:lnTo>
                  <a:lnTo>
                    <a:pt x="67" y="131"/>
                  </a:lnTo>
                  <a:lnTo>
                    <a:pt x="82" y="135"/>
                  </a:lnTo>
                  <a:lnTo>
                    <a:pt x="100" y="139"/>
                  </a:lnTo>
                  <a:lnTo>
                    <a:pt x="121" y="143"/>
                  </a:lnTo>
                  <a:lnTo>
                    <a:pt x="142" y="146"/>
                  </a:lnTo>
                  <a:lnTo>
                    <a:pt x="164" y="148"/>
                  </a:lnTo>
                  <a:lnTo>
                    <a:pt x="188" y="149"/>
                  </a:lnTo>
                  <a:lnTo>
                    <a:pt x="214" y="150"/>
                  </a:lnTo>
                  <a:lnTo>
                    <a:pt x="240" y="151"/>
                  </a:lnTo>
                  <a:lnTo>
                    <a:pt x="240" y="151"/>
                  </a:lnTo>
                  <a:lnTo>
                    <a:pt x="240" y="151"/>
                  </a:lnTo>
                  <a:lnTo>
                    <a:pt x="266" y="150"/>
                  </a:lnTo>
                  <a:lnTo>
                    <a:pt x="291" y="149"/>
                  </a:lnTo>
                  <a:lnTo>
                    <a:pt x="315" y="148"/>
                  </a:lnTo>
                  <a:lnTo>
                    <a:pt x="337" y="146"/>
                  </a:lnTo>
                  <a:lnTo>
                    <a:pt x="358" y="143"/>
                  </a:lnTo>
                  <a:lnTo>
                    <a:pt x="379" y="139"/>
                  </a:lnTo>
                  <a:lnTo>
                    <a:pt x="396" y="135"/>
                  </a:lnTo>
                  <a:lnTo>
                    <a:pt x="413" y="131"/>
                  </a:lnTo>
                  <a:lnTo>
                    <a:pt x="428" y="127"/>
                  </a:lnTo>
                  <a:lnTo>
                    <a:pt x="442" y="122"/>
                  </a:lnTo>
                  <a:lnTo>
                    <a:pt x="453" y="116"/>
                  </a:lnTo>
                  <a:lnTo>
                    <a:pt x="462" y="111"/>
                  </a:lnTo>
                  <a:lnTo>
                    <a:pt x="469" y="106"/>
                  </a:lnTo>
                  <a:lnTo>
                    <a:pt x="475" y="100"/>
                  </a:lnTo>
                  <a:lnTo>
                    <a:pt x="478" y="95"/>
                  </a:lnTo>
                  <a:lnTo>
                    <a:pt x="480" y="89"/>
                  </a:lnTo>
                  <a:lnTo>
                    <a:pt x="480" y="89"/>
                  </a:lnTo>
                  <a:lnTo>
                    <a:pt x="479" y="87"/>
                  </a:lnTo>
                  <a:lnTo>
                    <a:pt x="478" y="84"/>
                  </a:lnTo>
                  <a:lnTo>
                    <a:pt x="474" y="77"/>
                  </a:lnTo>
                  <a:lnTo>
                    <a:pt x="467" y="70"/>
                  </a:lnTo>
                  <a:lnTo>
                    <a:pt x="458" y="63"/>
                  </a:lnTo>
                  <a:lnTo>
                    <a:pt x="447" y="55"/>
                  </a:lnTo>
                  <a:lnTo>
                    <a:pt x="433" y="48"/>
                  </a:lnTo>
                  <a:lnTo>
                    <a:pt x="419" y="40"/>
                  </a:lnTo>
                  <a:lnTo>
                    <a:pt x="403" y="34"/>
                  </a:lnTo>
                  <a:lnTo>
                    <a:pt x="385" y="27"/>
                  </a:lnTo>
                  <a:lnTo>
                    <a:pt x="366" y="20"/>
                  </a:lnTo>
                  <a:lnTo>
                    <a:pt x="346" y="15"/>
                  </a:lnTo>
                  <a:lnTo>
                    <a:pt x="326" y="10"/>
                  </a:lnTo>
                  <a:lnTo>
                    <a:pt x="304" y="6"/>
                  </a:lnTo>
                  <a:lnTo>
                    <a:pt x="283" y="3"/>
                  </a:lnTo>
                  <a:lnTo>
                    <a:pt x="261" y="2"/>
                  </a:lnTo>
                  <a:lnTo>
                    <a:pt x="240" y="0"/>
                  </a:lnTo>
                  <a:lnTo>
                    <a:pt x="240" y="0"/>
                  </a:lnTo>
                  <a:close/>
                  <a:moveTo>
                    <a:pt x="266" y="80"/>
                  </a:moveTo>
                  <a:lnTo>
                    <a:pt x="131" y="72"/>
                  </a:lnTo>
                  <a:lnTo>
                    <a:pt x="168" y="38"/>
                  </a:lnTo>
                  <a:lnTo>
                    <a:pt x="291" y="45"/>
                  </a:lnTo>
                  <a:lnTo>
                    <a:pt x="266" y="8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D8112232-34D7-49CD-BCC2-5CA5FFA37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6" y="2084"/>
              <a:ext cx="25" cy="142"/>
            </a:xfrm>
            <a:custGeom>
              <a:avLst/>
              <a:gdLst>
                <a:gd name="T0" fmla="*/ 20 w 25"/>
                <a:gd name="T1" fmla="*/ 142 h 142"/>
                <a:gd name="T2" fmla="*/ 25 w 25"/>
                <a:gd name="T3" fmla="*/ 0 h 142"/>
                <a:gd name="T4" fmla="*/ 7 w 25"/>
                <a:gd name="T5" fmla="*/ 0 h 142"/>
                <a:gd name="T6" fmla="*/ 0 w 25"/>
                <a:gd name="T7" fmla="*/ 130 h 142"/>
                <a:gd name="T8" fmla="*/ 0 w 25"/>
                <a:gd name="T9" fmla="*/ 130 h 142"/>
                <a:gd name="T10" fmla="*/ 20 w 25"/>
                <a:gd name="T11" fmla="*/ 142 h 142"/>
                <a:gd name="T12" fmla="*/ 20 w 25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42">
                  <a:moveTo>
                    <a:pt x="20" y="142"/>
                  </a:moveTo>
                  <a:lnTo>
                    <a:pt x="25" y="0"/>
                  </a:lnTo>
                  <a:lnTo>
                    <a:pt x="7" y="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20" y="142"/>
                  </a:lnTo>
                  <a:lnTo>
                    <a:pt x="20" y="14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599E2C2A-496A-410E-A981-B7ED6D0ED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" y="2084"/>
              <a:ext cx="23" cy="92"/>
            </a:xfrm>
            <a:custGeom>
              <a:avLst/>
              <a:gdLst>
                <a:gd name="T0" fmla="*/ 23 w 23"/>
                <a:gd name="T1" fmla="*/ 92 h 92"/>
                <a:gd name="T2" fmla="*/ 18 w 23"/>
                <a:gd name="T3" fmla="*/ 0 h 92"/>
                <a:gd name="T4" fmla="*/ 0 w 23"/>
                <a:gd name="T5" fmla="*/ 0 h 92"/>
                <a:gd name="T6" fmla="*/ 4 w 23"/>
                <a:gd name="T7" fmla="*/ 89 h 92"/>
                <a:gd name="T8" fmla="*/ 4 w 23"/>
                <a:gd name="T9" fmla="*/ 89 h 92"/>
                <a:gd name="T10" fmla="*/ 23 w 23"/>
                <a:gd name="T11" fmla="*/ 92 h 92"/>
                <a:gd name="T12" fmla="*/ 23 w 23"/>
                <a:gd name="T1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92">
                  <a:moveTo>
                    <a:pt x="23" y="92"/>
                  </a:moveTo>
                  <a:lnTo>
                    <a:pt x="18" y="0"/>
                  </a:lnTo>
                  <a:lnTo>
                    <a:pt x="0" y="0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23" y="92"/>
                  </a:lnTo>
                  <a:lnTo>
                    <a:pt x="23" y="9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132EC06E-105D-4270-BF2A-B359B31F2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" y="2084"/>
              <a:ext cx="102" cy="122"/>
            </a:xfrm>
            <a:custGeom>
              <a:avLst/>
              <a:gdLst>
                <a:gd name="T0" fmla="*/ 15 w 102"/>
                <a:gd name="T1" fmla="*/ 119 h 122"/>
                <a:gd name="T2" fmla="*/ 15 w 102"/>
                <a:gd name="T3" fmla="*/ 119 h 122"/>
                <a:gd name="T4" fmla="*/ 35 w 102"/>
                <a:gd name="T5" fmla="*/ 110 h 122"/>
                <a:gd name="T6" fmla="*/ 55 w 102"/>
                <a:gd name="T7" fmla="*/ 104 h 122"/>
                <a:gd name="T8" fmla="*/ 76 w 102"/>
                <a:gd name="T9" fmla="*/ 99 h 122"/>
                <a:gd name="T10" fmla="*/ 96 w 102"/>
                <a:gd name="T11" fmla="*/ 93 h 122"/>
                <a:gd name="T12" fmla="*/ 102 w 102"/>
                <a:gd name="T13" fmla="*/ 0 h 122"/>
                <a:gd name="T14" fmla="*/ 76 w 102"/>
                <a:gd name="T15" fmla="*/ 0 h 122"/>
                <a:gd name="T16" fmla="*/ 51 w 102"/>
                <a:gd name="T17" fmla="*/ 38 h 122"/>
                <a:gd name="T18" fmla="*/ 27 w 102"/>
                <a:gd name="T19" fmla="*/ 0 h 122"/>
                <a:gd name="T20" fmla="*/ 0 w 102"/>
                <a:gd name="T21" fmla="*/ 0 h 122"/>
                <a:gd name="T22" fmla="*/ 7 w 102"/>
                <a:gd name="T23" fmla="*/ 122 h 122"/>
                <a:gd name="T24" fmla="*/ 7 w 102"/>
                <a:gd name="T25" fmla="*/ 122 h 122"/>
                <a:gd name="T26" fmla="*/ 15 w 102"/>
                <a:gd name="T27" fmla="*/ 119 h 122"/>
                <a:gd name="T28" fmla="*/ 15 w 102"/>
                <a:gd name="T29" fmla="*/ 119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122">
                  <a:moveTo>
                    <a:pt x="15" y="119"/>
                  </a:moveTo>
                  <a:lnTo>
                    <a:pt x="15" y="119"/>
                  </a:lnTo>
                  <a:lnTo>
                    <a:pt x="35" y="110"/>
                  </a:lnTo>
                  <a:lnTo>
                    <a:pt x="55" y="104"/>
                  </a:lnTo>
                  <a:lnTo>
                    <a:pt x="76" y="99"/>
                  </a:lnTo>
                  <a:lnTo>
                    <a:pt x="96" y="93"/>
                  </a:lnTo>
                  <a:lnTo>
                    <a:pt x="102" y="0"/>
                  </a:lnTo>
                  <a:lnTo>
                    <a:pt x="76" y="0"/>
                  </a:lnTo>
                  <a:lnTo>
                    <a:pt x="51" y="38"/>
                  </a:lnTo>
                  <a:lnTo>
                    <a:pt x="27" y="0"/>
                  </a:lnTo>
                  <a:lnTo>
                    <a:pt x="0" y="0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15" y="119"/>
                  </a:lnTo>
                  <a:lnTo>
                    <a:pt x="15" y="11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2B16DFD3-3EA4-4233-856D-4786C0B4D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2084"/>
              <a:ext cx="22" cy="91"/>
            </a:xfrm>
            <a:custGeom>
              <a:avLst/>
              <a:gdLst>
                <a:gd name="T0" fmla="*/ 19 w 22"/>
                <a:gd name="T1" fmla="*/ 88 h 91"/>
                <a:gd name="T2" fmla="*/ 22 w 22"/>
                <a:gd name="T3" fmla="*/ 0 h 91"/>
                <a:gd name="T4" fmla="*/ 4 w 22"/>
                <a:gd name="T5" fmla="*/ 0 h 91"/>
                <a:gd name="T6" fmla="*/ 0 w 22"/>
                <a:gd name="T7" fmla="*/ 91 h 91"/>
                <a:gd name="T8" fmla="*/ 0 w 22"/>
                <a:gd name="T9" fmla="*/ 91 h 91"/>
                <a:gd name="T10" fmla="*/ 19 w 22"/>
                <a:gd name="T11" fmla="*/ 88 h 91"/>
                <a:gd name="T12" fmla="*/ 19 w 22"/>
                <a:gd name="T13" fmla="*/ 8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1">
                  <a:moveTo>
                    <a:pt x="19" y="88"/>
                  </a:moveTo>
                  <a:lnTo>
                    <a:pt x="22" y="0"/>
                  </a:lnTo>
                  <a:lnTo>
                    <a:pt x="4" y="0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9" y="88"/>
                  </a:lnTo>
                  <a:lnTo>
                    <a:pt x="19" y="8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2E93E57A-DC83-4EA0-A776-1FC341301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7" y="2084"/>
              <a:ext cx="27" cy="138"/>
            </a:xfrm>
            <a:custGeom>
              <a:avLst/>
              <a:gdLst>
                <a:gd name="T0" fmla="*/ 27 w 27"/>
                <a:gd name="T1" fmla="*/ 127 h 138"/>
                <a:gd name="T2" fmla="*/ 18 w 27"/>
                <a:gd name="T3" fmla="*/ 0 h 138"/>
                <a:gd name="T4" fmla="*/ 0 w 27"/>
                <a:gd name="T5" fmla="*/ 0 h 138"/>
                <a:gd name="T6" fmla="*/ 7 w 27"/>
                <a:gd name="T7" fmla="*/ 138 h 138"/>
                <a:gd name="T8" fmla="*/ 7 w 27"/>
                <a:gd name="T9" fmla="*/ 138 h 138"/>
                <a:gd name="T10" fmla="*/ 27 w 27"/>
                <a:gd name="T11" fmla="*/ 127 h 138"/>
                <a:gd name="T12" fmla="*/ 27 w 27"/>
                <a:gd name="T13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38">
                  <a:moveTo>
                    <a:pt x="27" y="127"/>
                  </a:moveTo>
                  <a:lnTo>
                    <a:pt x="18" y="0"/>
                  </a:lnTo>
                  <a:lnTo>
                    <a:pt x="0" y="0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27" y="127"/>
                  </a:lnTo>
                  <a:lnTo>
                    <a:pt x="27" y="12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3" name="Freeform 5">
            <a:extLst>
              <a:ext uri="{FF2B5EF4-FFF2-40B4-BE49-F238E27FC236}">
                <a16:creationId xmlns:a16="http://schemas.microsoft.com/office/drawing/2014/main" id="{44677EA6-4204-4866-A912-339C30F5C9F9}"/>
              </a:ext>
            </a:extLst>
          </p:cNvPr>
          <p:cNvSpPr>
            <a:spLocks/>
          </p:cNvSpPr>
          <p:nvPr/>
        </p:nvSpPr>
        <p:spPr bwMode="auto">
          <a:xfrm>
            <a:off x="7380191" y="4296441"/>
            <a:ext cx="900016" cy="1211261"/>
          </a:xfrm>
          <a:custGeom>
            <a:avLst/>
            <a:gdLst>
              <a:gd name="T0" fmla="*/ 459 w 480"/>
              <a:gd name="T1" fmla="*/ 328 h 635"/>
              <a:gd name="T2" fmla="*/ 437 w 480"/>
              <a:gd name="T3" fmla="*/ 322 h 635"/>
              <a:gd name="T4" fmla="*/ 430 w 480"/>
              <a:gd name="T5" fmla="*/ 311 h 635"/>
              <a:gd name="T6" fmla="*/ 435 w 480"/>
              <a:gd name="T7" fmla="*/ 299 h 635"/>
              <a:gd name="T8" fmla="*/ 437 w 480"/>
              <a:gd name="T9" fmla="*/ 285 h 635"/>
              <a:gd name="T10" fmla="*/ 428 w 480"/>
              <a:gd name="T11" fmla="*/ 259 h 635"/>
              <a:gd name="T12" fmla="*/ 414 w 480"/>
              <a:gd name="T13" fmla="*/ 245 h 635"/>
              <a:gd name="T14" fmla="*/ 381 w 480"/>
              <a:gd name="T15" fmla="*/ 243 h 635"/>
              <a:gd name="T16" fmla="*/ 372 w 480"/>
              <a:gd name="T17" fmla="*/ 234 h 635"/>
              <a:gd name="T18" fmla="*/ 372 w 480"/>
              <a:gd name="T19" fmla="*/ 219 h 635"/>
              <a:gd name="T20" fmla="*/ 358 w 480"/>
              <a:gd name="T21" fmla="*/ 195 h 635"/>
              <a:gd name="T22" fmla="*/ 346 w 480"/>
              <a:gd name="T23" fmla="*/ 186 h 635"/>
              <a:gd name="T24" fmla="*/ 315 w 480"/>
              <a:gd name="T25" fmla="*/ 184 h 635"/>
              <a:gd name="T26" fmla="*/ 413 w 480"/>
              <a:gd name="T27" fmla="*/ 71 h 635"/>
              <a:gd name="T28" fmla="*/ 421 w 480"/>
              <a:gd name="T29" fmla="*/ 43 h 635"/>
              <a:gd name="T30" fmla="*/ 417 w 480"/>
              <a:gd name="T31" fmla="*/ 25 h 635"/>
              <a:gd name="T32" fmla="*/ 406 w 480"/>
              <a:gd name="T33" fmla="*/ 11 h 635"/>
              <a:gd name="T34" fmla="*/ 385 w 480"/>
              <a:gd name="T35" fmla="*/ 0 h 635"/>
              <a:gd name="T36" fmla="*/ 365 w 480"/>
              <a:gd name="T37" fmla="*/ 1 h 635"/>
              <a:gd name="T38" fmla="*/ 337 w 480"/>
              <a:gd name="T39" fmla="*/ 17 h 635"/>
              <a:gd name="T40" fmla="*/ 91 w 480"/>
              <a:gd name="T41" fmla="*/ 276 h 635"/>
              <a:gd name="T42" fmla="*/ 92 w 480"/>
              <a:gd name="T43" fmla="*/ 198 h 635"/>
              <a:gd name="T44" fmla="*/ 83 w 480"/>
              <a:gd name="T45" fmla="*/ 171 h 635"/>
              <a:gd name="T46" fmla="*/ 74 w 480"/>
              <a:gd name="T47" fmla="*/ 165 h 635"/>
              <a:gd name="T48" fmla="*/ 62 w 480"/>
              <a:gd name="T49" fmla="*/ 164 h 635"/>
              <a:gd name="T50" fmla="*/ 46 w 480"/>
              <a:gd name="T51" fmla="*/ 175 h 635"/>
              <a:gd name="T52" fmla="*/ 32 w 480"/>
              <a:gd name="T53" fmla="*/ 207 h 635"/>
              <a:gd name="T54" fmla="*/ 10 w 480"/>
              <a:gd name="T55" fmla="*/ 311 h 635"/>
              <a:gd name="T56" fmla="*/ 1 w 480"/>
              <a:gd name="T57" fmla="*/ 394 h 635"/>
              <a:gd name="T58" fmla="*/ 1 w 480"/>
              <a:gd name="T59" fmla="*/ 397 h 635"/>
              <a:gd name="T60" fmla="*/ 3 w 480"/>
              <a:gd name="T61" fmla="*/ 440 h 635"/>
              <a:gd name="T62" fmla="*/ 22 w 480"/>
              <a:gd name="T63" fmla="*/ 506 h 635"/>
              <a:gd name="T64" fmla="*/ 43 w 480"/>
              <a:gd name="T65" fmla="*/ 538 h 635"/>
              <a:gd name="T66" fmla="*/ 71 w 480"/>
              <a:gd name="T67" fmla="*/ 566 h 635"/>
              <a:gd name="T68" fmla="*/ 137 w 480"/>
              <a:gd name="T69" fmla="*/ 611 h 635"/>
              <a:gd name="T70" fmla="*/ 204 w 480"/>
              <a:gd name="T71" fmla="*/ 634 h 635"/>
              <a:gd name="T72" fmla="*/ 234 w 480"/>
              <a:gd name="T73" fmla="*/ 635 h 635"/>
              <a:gd name="T74" fmla="*/ 259 w 480"/>
              <a:gd name="T75" fmla="*/ 627 h 635"/>
              <a:gd name="T76" fmla="*/ 411 w 480"/>
              <a:gd name="T77" fmla="*/ 464 h 635"/>
              <a:gd name="T78" fmla="*/ 466 w 480"/>
              <a:gd name="T79" fmla="*/ 402 h 635"/>
              <a:gd name="T80" fmla="*/ 477 w 480"/>
              <a:gd name="T81" fmla="*/ 384 h 635"/>
              <a:gd name="T82" fmla="*/ 479 w 480"/>
              <a:gd name="T83" fmla="*/ 356 h 635"/>
              <a:gd name="T84" fmla="*/ 466 w 480"/>
              <a:gd name="T85" fmla="*/ 332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80" h="635">
                <a:moveTo>
                  <a:pt x="466" y="332"/>
                </a:moveTo>
                <a:lnTo>
                  <a:pt x="466" y="332"/>
                </a:lnTo>
                <a:lnTo>
                  <a:pt x="459" y="328"/>
                </a:lnTo>
                <a:lnTo>
                  <a:pt x="452" y="325"/>
                </a:lnTo>
                <a:lnTo>
                  <a:pt x="445" y="322"/>
                </a:lnTo>
                <a:lnTo>
                  <a:pt x="437" y="322"/>
                </a:lnTo>
                <a:lnTo>
                  <a:pt x="437" y="322"/>
                </a:lnTo>
                <a:lnTo>
                  <a:pt x="424" y="322"/>
                </a:lnTo>
                <a:lnTo>
                  <a:pt x="430" y="311"/>
                </a:lnTo>
                <a:lnTo>
                  <a:pt x="430" y="311"/>
                </a:lnTo>
                <a:lnTo>
                  <a:pt x="432" y="306"/>
                </a:lnTo>
                <a:lnTo>
                  <a:pt x="435" y="299"/>
                </a:lnTo>
                <a:lnTo>
                  <a:pt x="437" y="292"/>
                </a:lnTo>
                <a:lnTo>
                  <a:pt x="437" y="285"/>
                </a:lnTo>
                <a:lnTo>
                  <a:pt x="437" y="285"/>
                </a:lnTo>
                <a:lnTo>
                  <a:pt x="437" y="276"/>
                </a:lnTo>
                <a:lnTo>
                  <a:pt x="432" y="266"/>
                </a:lnTo>
                <a:lnTo>
                  <a:pt x="428" y="259"/>
                </a:lnTo>
                <a:lnTo>
                  <a:pt x="423" y="252"/>
                </a:lnTo>
                <a:lnTo>
                  <a:pt x="423" y="252"/>
                </a:lnTo>
                <a:lnTo>
                  <a:pt x="414" y="245"/>
                </a:lnTo>
                <a:lnTo>
                  <a:pt x="403" y="243"/>
                </a:lnTo>
                <a:lnTo>
                  <a:pt x="392" y="241"/>
                </a:lnTo>
                <a:lnTo>
                  <a:pt x="381" y="243"/>
                </a:lnTo>
                <a:lnTo>
                  <a:pt x="371" y="245"/>
                </a:lnTo>
                <a:lnTo>
                  <a:pt x="372" y="234"/>
                </a:lnTo>
                <a:lnTo>
                  <a:pt x="372" y="234"/>
                </a:lnTo>
                <a:lnTo>
                  <a:pt x="372" y="227"/>
                </a:lnTo>
                <a:lnTo>
                  <a:pt x="372" y="227"/>
                </a:lnTo>
                <a:lnTo>
                  <a:pt x="372" y="219"/>
                </a:lnTo>
                <a:lnTo>
                  <a:pt x="369" y="209"/>
                </a:lnTo>
                <a:lnTo>
                  <a:pt x="364" y="202"/>
                </a:lnTo>
                <a:lnTo>
                  <a:pt x="358" y="195"/>
                </a:lnTo>
                <a:lnTo>
                  <a:pt x="358" y="195"/>
                </a:lnTo>
                <a:lnTo>
                  <a:pt x="351" y="191"/>
                </a:lnTo>
                <a:lnTo>
                  <a:pt x="346" y="186"/>
                </a:lnTo>
                <a:lnTo>
                  <a:pt x="337" y="185"/>
                </a:lnTo>
                <a:lnTo>
                  <a:pt x="330" y="184"/>
                </a:lnTo>
                <a:lnTo>
                  <a:pt x="315" y="184"/>
                </a:lnTo>
                <a:lnTo>
                  <a:pt x="407" y="80"/>
                </a:lnTo>
                <a:lnTo>
                  <a:pt x="407" y="80"/>
                </a:lnTo>
                <a:lnTo>
                  <a:pt x="413" y="71"/>
                </a:lnTo>
                <a:lnTo>
                  <a:pt x="417" y="63"/>
                </a:lnTo>
                <a:lnTo>
                  <a:pt x="420" y="53"/>
                </a:lnTo>
                <a:lnTo>
                  <a:pt x="421" y="43"/>
                </a:lnTo>
                <a:lnTo>
                  <a:pt x="421" y="43"/>
                </a:lnTo>
                <a:lnTo>
                  <a:pt x="420" y="34"/>
                </a:lnTo>
                <a:lnTo>
                  <a:pt x="417" y="25"/>
                </a:lnTo>
                <a:lnTo>
                  <a:pt x="411" y="18"/>
                </a:lnTo>
                <a:lnTo>
                  <a:pt x="406" y="11"/>
                </a:lnTo>
                <a:lnTo>
                  <a:pt x="406" y="11"/>
                </a:lnTo>
                <a:lnTo>
                  <a:pt x="399" y="6"/>
                </a:lnTo>
                <a:lnTo>
                  <a:pt x="392" y="3"/>
                </a:lnTo>
                <a:lnTo>
                  <a:pt x="385" y="0"/>
                </a:lnTo>
                <a:lnTo>
                  <a:pt x="376" y="0"/>
                </a:lnTo>
                <a:lnTo>
                  <a:pt x="376" y="0"/>
                </a:lnTo>
                <a:lnTo>
                  <a:pt x="365" y="1"/>
                </a:lnTo>
                <a:lnTo>
                  <a:pt x="355" y="4"/>
                </a:lnTo>
                <a:lnTo>
                  <a:pt x="346" y="10"/>
                </a:lnTo>
                <a:lnTo>
                  <a:pt x="337" y="17"/>
                </a:lnTo>
                <a:lnTo>
                  <a:pt x="88" y="297"/>
                </a:lnTo>
                <a:lnTo>
                  <a:pt x="91" y="276"/>
                </a:lnTo>
                <a:lnTo>
                  <a:pt x="91" y="276"/>
                </a:lnTo>
                <a:lnTo>
                  <a:pt x="94" y="241"/>
                </a:lnTo>
                <a:lnTo>
                  <a:pt x="94" y="210"/>
                </a:lnTo>
                <a:lnTo>
                  <a:pt x="92" y="198"/>
                </a:lnTo>
                <a:lnTo>
                  <a:pt x="91" y="186"/>
                </a:lnTo>
                <a:lnTo>
                  <a:pt x="88" y="178"/>
                </a:lnTo>
                <a:lnTo>
                  <a:pt x="83" y="171"/>
                </a:lnTo>
                <a:lnTo>
                  <a:pt x="83" y="171"/>
                </a:lnTo>
                <a:lnTo>
                  <a:pt x="80" y="168"/>
                </a:lnTo>
                <a:lnTo>
                  <a:pt x="74" y="165"/>
                </a:lnTo>
                <a:lnTo>
                  <a:pt x="69" y="164"/>
                </a:lnTo>
                <a:lnTo>
                  <a:pt x="62" y="164"/>
                </a:lnTo>
                <a:lnTo>
                  <a:pt x="62" y="164"/>
                </a:lnTo>
                <a:lnTo>
                  <a:pt x="56" y="165"/>
                </a:lnTo>
                <a:lnTo>
                  <a:pt x="52" y="170"/>
                </a:lnTo>
                <a:lnTo>
                  <a:pt x="46" y="175"/>
                </a:lnTo>
                <a:lnTo>
                  <a:pt x="42" y="184"/>
                </a:lnTo>
                <a:lnTo>
                  <a:pt x="36" y="195"/>
                </a:lnTo>
                <a:lnTo>
                  <a:pt x="32" y="207"/>
                </a:lnTo>
                <a:lnTo>
                  <a:pt x="24" y="237"/>
                </a:lnTo>
                <a:lnTo>
                  <a:pt x="17" y="272"/>
                </a:lnTo>
                <a:lnTo>
                  <a:pt x="10" y="311"/>
                </a:lnTo>
                <a:lnTo>
                  <a:pt x="6" y="352"/>
                </a:lnTo>
                <a:lnTo>
                  <a:pt x="1" y="394"/>
                </a:lnTo>
                <a:lnTo>
                  <a:pt x="1" y="394"/>
                </a:lnTo>
                <a:lnTo>
                  <a:pt x="1" y="397"/>
                </a:lnTo>
                <a:lnTo>
                  <a:pt x="1" y="397"/>
                </a:lnTo>
                <a:lnTo>
                  <a:pt x="1" y="397"/>
                </a:lnTo>
                <a:lnTo>
                  <a:pt x="0" y="407"/>
                </a:lnTo>
                <a:lnTo>
                  <a:pt x="1" y="422"/>
                </a:lnTo>
                <a:lnTo>
                  <a:pt x="3" y="440"/>
                </a:lnTo>
                <a:lnTo>
                  <a:pt x="7" y="461"/>
                </a:lnTo>
                <a:lnTo>
                  <a:pt x="14" y="484"/>
                </a:lnTo>
                <a:lnTo>
                  <a:pt x="22" y="506"/>
                </a:lnTo>
                <a:lnTo>
                  <a:pt x="29" y="517"/>
                </a:lnTo>
                <a:lnTo>
                  <a:pt x="36" y="528"/>
                </a:lnTo>
                <a:lnTo>
                  <a:pt x="43" y="538"/>
                </a:lnTo>
                <a:lnTo>
                  <a:pt x="53" y="548"/>
                </a:lnTo>
                <a:lnTo>
                  <a:pt x="53" y="548"/>
                </a:lnTo>
                <a:lnTo>
                  <a:pt x="71" y="566"/>
                </a:lnTo>
                <a:lnTo>
                  <a:pt x="92" y="583"/>
                </a:lnTo>
                <a:lnTo>
                  <a:pt x="115" y="599"/>
                </a:lnTo>
                <a:lnTo>
                  <a:pt x="137" y="611"/>
                </a:lnTo>
                <a:lnTo>
                  <a:pt x="161" y="621"/>
                </a:lnTo>
                <a:lnTo>
                  <a:pt x="183" y="629"/>
                </a:lnTo>
                <a:lnTo>
                  <a:pt x="204" y="634"/>
                </a:lnTo>
                <a:lnTo>
                  <a:pt x="224" y="635"/>
                </a:lnTo>
                <a:lnTo>
                  <a:pt x="224" y="635"/>
                </a:lnTo>
                <a:lnTo>
                  <a:pt x="234" y="635"/>
                </a:lnTo>
                <a:lnTo>
                  <a:pt x="243" y="634"/>
                </a:lnTo>
                <a:lnTo>
                  <a:pt x="252" y="631"/>
                </a:lnTo>
                <a:lnTo>
                  <a:pt x="259" y="627"/>
                </a:lnTo>
                <a:lnTo>
                  <a:pt x="406" y="470"/>
                </a:lnTo>
                <a:lnTo>
                  <a:pt x="406" y="470"/>
                </a:lnTo>
                <a:lnTo>
                  <a:pt x="411" y="464"/>
                </a:lnTo>
                <a:lnTo>
                  <a:pt x="411" y="464"/>
                </a:lnTo>
                <a:lnTo>
                  <a:pt x="413" y="463"/>
                </a:lnTo>
                <a:lnTo>
                  <a:pt x="466" y="402"/>
                </a:lnTo>
                <a:lnTo>
                  <a:pt x="466" y="402"/>
                </a:lnTo>
                <a:lnTo>
                  <a:pt x="473" y="394"/>
                </a:lnTo>
                <a:lnTo>
                  <a:pt x="477" y="384"/>
                </a:lnTo>
                <a:lnTo>
                  <a:pt x="480" y="376"/>
                </a:lnTo>
                <a:lnTo>
                  <a:pt x="480" y="366"/>
                </a:lnTo>
                <a:lnTo>
                  <a:pt x="479" y="356"/>
                </a:lnTo>
                <a:lnTo>
                  <a:pt x="476" y="348"/>
                </a:lnTo>
                <a:lnTo>
                  <a:pt x="472" y="339"/>
                </a:lnTo>
                <a:lnTo>
                  <a:pt x="466" y="332"/>
                </a:lnTo>
                <a:lnTo>
                  <a:pt x="466" y="33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54" name="Group 4">
            <a:extLst>
              <a:ext uri="{FF2B5EF4-FFF2-40B4-BE49-F238E27FC236}">
                <a16:creationId xmlns:a16="http://schemas.microsoft.com/office/drawing/2014/main" id="{95136132-02CD-488C-ACA6-41B1EFA67E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69858" y="494958"/>
            <a:ext cx="1470132" cy="1062782"/>
            <a:chOff x="3601" y="1987"/>
            <a:chExt cx="480" cy="347"/>
          </a:xfrm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BC1D9C0D-CF79-4279-850A-D390B62D1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" y="2233"/>
              <a:ext cx="55" cy="58"/>
            </a:xfrm>
            <a:custGeom>
              <a:avLst/>
              <a:gdLst>
                <a:gd name="T0" fmla="*/ 41 w 55"/>
                <a:gd name="T1" fmla="*/ 0 h 58"/>
                <a:gd name="T2" fmla="*/ 41 w 55"/>
                <a:gd name="T3" fmla="*/ 0 h 58"/>
                <a:gd name="T4" fmla="*/ 39 w 55"/>
                <a:gd name="T5" fmla="*/ 1 h 58"/>
                <a:gd name="T6" fmla="*/ 36 w 55"/>
                <a:gd name="T7" fmla="*/ 2 h 58"/>
                <a:gd name="T8" fmla="*/ 2 w 55"/>
                <a:gd name="T9" fmla="*/ 39 h 58"/>
                <a:gd name="T10" fmla="*/ 2 w 55"/>
                <a:gd name="T11" fmla="*/ 39 h 58"/>
                <a:gd name="T12" fmla="*/ 0 w 55"/>
                <a:gd name="T13" fmla="*/ 42 h 58"/>
                <a:gd name="T14" fmla="*/ 0 w 55"/>
                <a:gd name="T15" fmla="*/ 46 h 58"/>
                <a:gd name="T16" fmla="*/ 2 w 55"/>
                <a:gd name="T17" fmla="*/ 50 h 58"/>
                <a:gd name="T18" fmla="*/ 5 w 55"/>
                <a:gd name="T19" fmla="*/ 54 h 58"/>
                <a:gd name="T20" fmla="*/ 5 w 55"/>
                <a:gd name="T21" fmla="*/ 54 h 58"/>
                <a:gd name="T22" fmla="*/ 9 w 55"/>
                <a:gd name="T23" fmla="*/ 57 h 58"/>
                <a:gd name="T24" fmla="*/ 13 w 55"/>
                <a:gd name="T25" fmla="*/ 58 h 58"/>
                <a:gd name="T26" fmla="*/ 13 w 55"/>
                <a:gd name="T27" fmla="*/ 58 h 58"/>
                <a:gd name="T28" fmla="*/ 17 w 55"/>
                <a:gd name="T29" fmla="*/ 58 h 58"/>
                <a:gd name="T30" fmla="*/ 20 w 55"/>
                <a:gd name="T31" fmla="*/ 56 h 58"/>
                <a:gd name="T32" fmla="*/ 54 w 55"/>
                <a:gd name="T33" fmla="*/ 19 h 58"/>
                <a:gd name="T34" fmla="*/ 54 w 55"/>
                <a:gd name="T35" fmla="*/ 19 h 58"/>
                <a:gd name="T36" fmla="*/ 55 w 55"/>
                <a:gd name="T37" fmla="*/ 16 h 58"/>
                <a:gd name="T38" fmla="*/ 55 w 55"/>
                <a:gd name="T39" fmla="*/ 11 h 58"/>
                <a:gd name="T40" fmla="*/ 54 w 55"/>
                <a:gd name="T41" fmla="*/ 7 h 58"/>
                <a:gd name="T42" fmla="*/ 50 w 55"/>
                <a:gd name="T43" fmla="*/ 4 h 58"/>
                <a:gd name="T44" fmla="*/ 50 w 55"/>
                <a:gd name="T45" fmla="*/ 4 h 58"/>
                <a:gd name="T46" fmla="*/ 46 w 55"/>
                <a:gd name="T47" fmla="*/ 1 h 58"/>
                <a:gd name="T48" fmla="*/ 41 w 55"/>
                <a:gd name="T49" fmla="*/ 0 h 58"/>
                <a:gd name="T50" fmla="*/ 41 w 55"/>
                <a:gd name="T5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58">
                  <a:moveTo>
                    <a:pt x="41" y="0"/>
                  </a:moveTo>
                  <a:lnTo>
                    <a:pt x="41" y="0"/>
                  </a:lnTo>
                  <a:lnTo>
                    <a:pt x="39" y="1"/>
                  </a:lnTo>
                  <a:lnTo>
                    <a:pt x="36" y="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50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9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7" y="58"/>
                  </a:lnTo>
                  <a:lnTo>
                    <a:pt x="20" y="56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5" y="16"/>
                  </a:lnTo>
                  <a:lnTo>
                    <a:pt x="55" y="11"/>
                  </a:lnTo>
                  <a:lnTo>
                    <a:pt x="54" y="7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6" y="1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E6246A19-2796-4063-BE47-9AB4FEEE1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2208"/>
              <a:ext cx="56" cy="57"/>
            </a:xfrm>
            <a:custGeom>
              <a:avLst/>
              <a:gdLst>
                <a:gd name="T0" fmla="*/ 42 w 56"/>
                <a:gd name="T1" fmla="*/ 0 h 57"/>
                <a:gd name="T2" fmla="*/ 42 w 56"/>
                <a:gd name="T3" fmla="*/ 0 h 57"/>
                <a:gd name="T4" fmla="*/ 39 w 56"/>
                <a:gd name="T5" fmla="*/ 0 h 57"/>
                <a:gd name="T6" fmla="*/ 36 w 56"/>
                <a:gd name="T7" fmla="*/ 3 h 57"/>
                <a:gd name="T8" fmla="*/ 2 w 56"/>
                <a:gd name="T9" fmla="*/ 40 h 57"/>
                <a:gd name="T10" fmla="*/ 2 w 56"/>
                <a:gd name="T11" fmla="*/ 40 h 57"/>
                <a:gd name="T12" fmla="*/ 1 w 56"/>
                <a:gd name="T13" fmla="*/ 43 h 57"/>
                <a:gd name="T14" fmla="*/ 0 w 56"/>
                <a:gd name="T15" fmla="*/ 45 h 57"/>
                <a:gd name="T16" fmla="*/ 0 w 56"/>
                <a:gd name="T17" fmla="*/ 45 h 57"/>
                <a:gd name="T18" fmla="*/ 2 w 56"/>
                <a:gd name="T19" fmla="*/ 50 h 57"/>
                <a:gd name="T20" fmla="*/ 5 w 56"/>
                <a:gd name="T21" fmla="*/ 54 h 57"/>
                <a:gd name="T22" fmla="*/ 5 w 56"/>
                <a:gd name="T23" fmla="*/ 54 h 57"/>
                <a:gd name="T24" fmla="*/ 10 w 56"/>
                <a:gd name="T25" fmla="*/ 56 h 57"/>
                <a:gd name="T26" fmla="*/ 15 w 56"/>
                <a:gd name="T27" fmla="*/ 57 h 57"/>
                <a:gd name="T28" fmla="*/ 15 w 56"/>
                <a:gd name="T29" fmla="*/ 57 h 57"/>
                <a:gd name="T30" fmla="*/ 17 w 56"/>
                <a:gd name="T31" fmla="*/ 57 h 57"/>
                <a:gd name="T32" fmla="*/ 20 w 56"/>
                <a:gd name="T33" fmla="*/ 55 h 57"/>
                <a:gd name="T34" fmla="*/ 54 w 56"/>
                <a:gd name="T35" fmla="*/ 18 h 57"/>
                <a:gd name="T36" fmla="*/ 54 w 56"/>
                <a:gd name="T37" fmla="*/ 18 h 57"/>
                <a:gd name="T38" fmla="*/ 56 w 56"/>
                <a:gd name="T39" fmla="*/ 15 h 57"/>
                <a:gd name="T40" fmla="*/ 56 w 56"/>
                <a:gd name="T41" fmla="*/ 11 h 57"/>
                <a:gd name="T42" fmla="*/ 54 w 56"/>
                <a:gd name="T43" fmla="*/ 8 h 57"/>
                <a:gd name="T44" fmla="*/ 51 w 56"/>
                <a:gd name="T45" fmla="*/ 4 h 57"/>
                <a:gd name="T46" fmla="*/ 51 w 56"/>
                <a:gd name="T47" fmla="*/ 4 h 57"/>
                <a:gd name="T48" fmla="*/ 47 w 56"/>
                <a:gd name="T49" fmla="*/ 2 h 57"/>
                <a:gd name="T50" fmla="*/ 42 w 56"/>
                <a:gd name="T51" fmla="*/ 0 h 57"/>
                <a:gd name="T52" fmla="*/ 42 w 56"/>
                <a:gd name="T5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57">
                  <a:moveTo>
                    <a:pt x="42" y="0"/>
                  </a:moveTo>
                  <a:lnTo>
                    <a:pt x="42" y="0"/>
                  </a:lnTo>
                  <a:lnTo>
                    <a:pt x="39" y="0"/>
                  </a:lnTo>
                  <a:lnTo>
                    <a:pt x="36" y="3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3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2" y="50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10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20" y="55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6" y="15"/>
                  </a:lnTo>
                  <a:lnTo>
                    <a:pt x="56" y="11"/>
                  </a:lnTo>
                  <a:lnTo>
                    <a:pt x="54" y="8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47" y="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0F5A5230-59B9-424E-865D-10227601B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2258"/>
              <a:ext cx="55" cy="58"/>
            </a:xfrm>
            <a:custGeom>
              <a:avLst/>
              <a:gdLst>
                <a:gd name="T0" fmla="*/ 41 w 55"/>
                <a:gd name="T1" fmla="*/ 0 h 58"/>
                <a:gd name="T2" fmla="*/ 41 w 55"/>
                <a:gd name="T3" fmla="*/ 0 h 58"/>
                <a:gd name="T4" fmla="*/ 38 w 55"/>
                <a:gd name="T5" fmla="*/ 0 h 58"/>
                <a:gd name="T6" fmla="*/ 36 w 55"/>
                <a:gd name="T7" fmla="*/ 2 h 58"/>
                <a:gd name="T8" fmla="*/ 2 w 55"/>
                <a:gd name="T9" fmla="*/ 39 h 58"/>
                <a:gd name="T10" fmla="*/ 2 w 55"/>
                <a:gd name="T11" fmla="*/ 39 h 58"/>
                <a:gd name="T12" fmla="*/ 0 w 55"/>
                <a:gd name="T13" fmla="*/ 42 h 58"/>
                <a:gd name="T14" fmla="*/ 0 w 55"/>
                <a:gd name="T15" fmla="*/ 46 h 58"/>
                <a:gd name="T16" fmla="*/ 2 w 55"/>
                <a:gd name="T17" fmla="*/ 50 h 58"/>
                <a:gd name="T18" fmla="*/ 5 w 55"/>
                <a:gd name="T19" fmla="*/ 54 h 58"/>
                <a:gd name="T20" fmla="*/ 5 w 55"/>
                <a:gd name="T21" fmla="*/ 54 h 58"/>
                <a:gd name="T22" fmla="*/ 10 w 55"/>
                <a:gd name="T23" fmla="*/ 57 h 58"/>
                <a:gd name="T24" fmla="*/ 14 w 55"/>
                <a:gd name="T25" fmla="*/ 58 h 58"/>
                <a:gd name="T26" fmla="*/ 14 w 55"/>
                <a:gd name="T27" fmla="*/ 58 h 58"/>
                <a:gd name="T28" fmla="*/ 17 w 55"/>
                <a:gd name="T29" fmla="*/ 57 h 58"/>
                <a:gd name="T30" fmla="*/ 20 w 55"/>
                <a:gd name="T31" fmla="*/ 55 h 58"/>
                <a:gd name="T32" fmla="*/ 54 w 55"/>
                <a:gd name="T33" fmla="*/ 18 h 58"/>
                <a:gd name="T34" fmla="*/ 54 w 55"/>
                <a:gd name="T35" fmla="*/ 18 h 58"/>
                <a:gd name="T36" fmla="*/ 55 w 55"/>
                <a:gd name="T37" fmla="*/ 15 h 58"/>
                <a:gd name="T38" fmla="*/ 55 w 55"/>
                <a:gd name="T39" fmla="*/ 12 h 58"/>
                <a:gd name="T40" fmla="*/ 54 w 55"/>
                <a:gd name="T41" fmla="*/ 7 h 58"/>
                <a:gd name="T42" fmla="*/ 51 w 55"/>
                <a:gd name="T43" fmla="*/ 3 h 58"/>
                <a:gd name="T44" fmla="*/ 51 w 55"/>
                <a:gd name="T45" fmla="*/ 3 h 58"/>
                <a:gd name="T46" fmla="*/ 47 w 55"/>
                <a:gd name="T47" fmla="*/ 1 h 58"/>
                <a:gd name="T48" fmla="*/ 41 w 55"/>
                <a:gd name="T49" fmla="*/ 0 h 58"/>
                <a:gd name="T50" fmla="*/ 41 w 55"/>
                <a:gd name="T5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58">
                  <a:moveTo>
                    <a:pt x="41" y="0"/>
                  </a:moveTo>
                  <a:lnTo>
                    <a:pt x="41" y="0"/>
                  </a:lnTo>
                  <a:lnTo>
                    <a:pt x="38" y="0"/>
                  </a:lnTo>
                  <a:lnTo>
                    <a:pt x="36" y="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50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10" y="57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7" y="57"/>
                  </a:lnTo>
                  <a:lnTo>
                    <a:pt x="20" y="55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5"/>
                  </a:lnTo>
                  <a:lnTo>
                    <a:pt x="55" y="12"/>
                  </a:lnTo>
                  <a:lnTo>
                    <a:pt x="54" y="7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47" y="1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BD107D6B-C17F-477A-8602-D72AC5270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" y="2282"/>
              <a:ext cx="45" cy="47"/>
            </a:xfrm>
            <a:custGeom>
              <a:avLst/>
              <a:gdLst>
                <a:gd name="T0" fmla="*/ 20 w 45"/>
                <a:gd name="T1" fmla="*/ 45 h 47"/>
                <a:gd name="T2" fmla="*/ 42 w 45"/>
                <a:gd name="T3" fmla="*/ 19 h 47"/>
                <a:gd name="T4" fmla="*/ 42 w 45"/>
                <a:gd name="T5" fmla="*/ 19 h 47"/>
                <a:gd name="T6" fmla="*/ 45 w 45"/>
                <a:gd name="T7" fmla="*/ 16 h 47"/>
                <a:gd name="T8" fmla="*/ 45 w 45"/>
                <a:gd name="T9" fmla="*/ 12 h 47"/>
                <a:gd name="T10" fmla="*/ 44 w 45"/>
                <a:gd name="T11" fmla="*/ 8 h 47"/>
                <a:gd name="T12" fmla="*/ 40 w 45"/>
                <a:gd name="T13" fmla="*/ 5 h 47"/>
                <a:gd name="T14" fmla="*/ 40 w 45"/>
                <a:gd name="T15" fmla="*/ 5 h 47"/>
                <a:gd name="T16" fmla="*/ 36 w 45"/>
                <a:gd name="T17" fmla="*/ 1 h 47"/>
                <a:gd name="T18" fmla="*/ 32 w 45"/>
                <a:gd name="T19" fmla="*/ 0 h 47"/>
                <a:gd name="T20" fmla="*/ 32 w 45"/>
                <a:gd name="T21" fmla="*/ 0 h 47"/>
                <a:gd name="T22" fmla="*/ 28 w 45"/>
                <a:gd name="T23" fmla="*/ 1 h 47"/>
                <a:gd name="T24" fmla="*/ 24 w 45"/>
                <a:gd name="T25" fmla="*/ 3 h 47"/>
                <a:gd name="T26" fmla="*/ 2 w 45"/>
                <a:gd name="T27" fmla="*/ 28 h 47"/>
                <a:gd name="T28" fmla="*/ 2 w 45"/>
                <a:gd name="T29" fmla="*/ 28 h 47"/>
                <a:gd name="T30" fmla="*/ 0 w 45"/>
                <a:gd name="T31" fmla="*/ 31 h 47"/>
                <a:gd name="T32" fmla="*/ 0 w 45"/>
                <a:gd name="T33" fmla="*/ 35 h 47"/>
                <a:gd name="T34" fmla="*/ 0 w 45"/>
                <a:gd name="T35" fmla="*/ 35 h 47"/>
                <a:gd name="T36" fmla="*/ 1 w 45"/>
                <a:gd name="T37" fmla="*/ 39 h 47"/>
                <a:gd name="T38" fmla="*/ 4 w 45"/>
                <a:gd name="T39" fmla="*/ 44 h 47"/>
                <a:gd name="T40" fmla="*/ 4 w 45"/>
                <a:gd name="T41" fmla="*/ 44 h 47"/>
                <a:gd name="T42" fmla="*/ 9 w 45"/>
                <a:gd name="T43" fmla="*/ 46 h 47"/>
                <a:gd name="T44" fmla="*/ 13 w 45"/>
                <a:gd name="T45" fmla="*/ 47 h 47"/>
                <a:gd name="T46" fmla="*/ 17 w 45"/>
                <a:gd name="T47" fmla="*/ 47 h 47"/>
                <a:gd name="T48" fmla="*/ 20 w 45"/>
                <a:gd name="T49" fmla="*/ 45 h 47"/>
                <a:gd name="T50" fmla="*/ 20 w 45"/>
                <a:gd name="T51" fmla="*/ 4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" h="47">
                  <a:moveTo>
                    <a:pt x="20" y="45"/>
                  </a:moveTo>
                  <a:lnTo>
                    <a:pt x="42" y="19"/>
                  </a:lnTo>
                  <a:lnTo>
                    <a:pt x="42" y="19"/>
                  </a:lnTo>
                  <a:lnTo>
                    <a:pt x="45" y="16"/>
                  </a:lnTo>
                  <a:lnTo>
                    <a:pt x="45" y="12"/>
                  </a:lnTo>
                  <a:lnTo>
                    <a:pt x="44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6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4" y="3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1" y="39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9" y="46"/>
                  </a:lnTo>
                  <a:lnTo>
                    <a:pt x="13" y="47"/>
                  </a:lnTo>
                  <a:lnTo>
                    <a:pt x="17" y="47"/>
                  </a:lnTo>
                  <a:lnTo>
                    <a:pt x="20" y="45"/>
                  </a:lnTo>
                  <a:lnTo>
                    <a:pt x="20" y="4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9">
              <a:extLst>
                <a:ext uri="{FF2B5EF4-FFF2-40B4-BE49-F238E27FC236}">
                  <a16:creationId xmlns:a16="http://schemas.microsoft.com/office/drawing/2014/main" id="{F062CB8C-75A4-48CE-A916-0DE325634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" y="1987"/>
              <a:ext cx="309" cy="233"/>
            </a:xfrm>
            <a:custGeom>
              <a:avLst/>
              <a:gdLst>
                <a:gd name="T0" fmla="*/ 121 w 309"/>
                <a:gd name="T1" fmla="*/ 70 h 233"/>
                <a:gd name="T2" fmla="*/ 140 w 309"/>
                <a:gd name="T3" fmla="*/ 100 h 233"/>
                <a:gd name="T4" fmla="*/ 136 w 309"/>
                <a:gd name="T5" fmla="*/ 99 h 233"/>
                <a:gd name="T6" fmla="*/ 107 w 309"/>
                <a:gd name="T7" fmla="*/ 91 h 233"/>
                <a:gd name="T8" fmla="*/ 71 w 309"/>
                <a:gd name="T9" fmla="*/ 85 h 233"/>
                <a:gd name="T10" fmla="*/ 52 w 309"/>
                <a:gd name="T11" fmla="*/ 85 h 233"/>
                <a:gd name="T12" fmla="*/ 36 w 309"/>
                <a:gd name="T13" fmla="*/ 90 h 233"/>
                <a:gd name="T14" fmla="*/ 24 w 309"/>
                <a:gd name="T15" fmla="*/ 99 h 233"/>
                <a:gd name="T16" fmla="*/ 16 w 309"/>
                <a:gd name="T17" fmla="*/ 108 h 233"/>
                <a:gd name="T18" fmla="*/ 7 w 309"/>
                <a:gd name="T19" fmla="*/ 128 h 233"/>
                <a:gd name="T20" fmla="*/ 1 w 309"/>
                <a:gd name="T21" fmla="*/ 147 h 233"/>
                <a:gd name="T22" fmla="*/ 0 w 309"/>
                <a:gd name="T23" fmla="*/ 163 h 233"/>
                <a:gd name="T24" fmla="*/ 2 w 309"/>
                <a:gd name="T25" fmla="*/ 170 h 233"/>
                <a:gd name="T26" fmla="*/ 6 w 309"/>
                <a:gd name="T27" fmla="*/ 176 h 233"/>
                <a:gd name="T28" fmla="*/ 11 w 309"/>
                <a:gd name="T29" fmla="*/ 179 h 233"/>
                <a:gd name="T30" fmla="*/ 14 w 309"/>
                <a:gd name="T31" fmla="*/ 179 h 233"/>
                <a:gd name="T32" fmla="*/ 20 w 309"/>
                <a:gd name="T33" fmla="*/ 177 h 233"/>
                <a:gd name="T34" fmla="*/ 27 w 309"/>
                <a:gd name="T35" fmla="*/ 168 h 233"/>
                <a:gd name="T36" fmla="*/ 30 w 309"/>
                <a:gd name="T37" fmla="*/ 156 h 233"/>
                <a:gd name="T38" fmla="*/ 36 w 309"/>
                <a:gd name="T39" fmla="*/ 140 h 233"/>
                <a:gd name="T40" fmla="*/ 38 w 309"/>
                <a:gd name="T41" fmla="*/ 136 h 233"/>
                <a:gd name="T42" fmla="*/ 47 w 309"/>
                <a:gd name="T43" fmla="*/ 131 h 233"/>
                <a:gd name="T44" fmla="*/ 51 w 309"/>
                <a:gd name="T45" fmla="*/ 130 h 233"/>
                <a:gd name="T46" fmla="*/ 64 w 309"/>
                <a:gd name="T47" fmla="*/ 129 h 233"/>
                <a:gd name="T48" fmla="*/ 75 w 309"/>
                <a:gd name="T49" fmla="*/ 134 h 233"/>
                <a:gd name="T50" fmla="*/ 83 w 309"/>
                <a:gd name="T51" fmla="*/ 140 h 233"/>
                <a:gd name="T52" fmla="*/ 90 w 309"/>
                <a:gd name="T53" fmla="*/ 152 h 233"/>
                <a:gd name="T54" fmla="*/ 92 w 309"/>
                <a:gd name="T55" fmla="*/ 157 h 233"/>
                <a:gd name="T56" fmla="*/ 94 w 309"/>
                <a:gd name="T57" fmla="*/ 163 h 233"/>
                <a:gd name="T58" fmla="*/ 125 w 309"/>
                <a:gd name="T59" fmla="*/ 203 h 233"/>
                <a:gd name="T60" fmla="*/ 222 w 309"/>
                <a:gd name="T61" fmla="*/ 160 h 233"/>
                <a:gd name="T62" fmla="*/ 309 w 309"/>
                <a:gd name="T63" fmla="*/ 112 h 233"/>
                <a:gd name="T64" fmla="*/ 245 w 309"/>
                <a:gd name="T65" fmla="*/ 163 h 233"/>
                <a:gd name="T66" fmla="*/ 184 w 309"/>
                <a:gd name="T67" fmla="*/ 18 h 233"/>
                <a:gd name="T68" fmla="*/ 245 w 309"/>
                <a:gd name="T69" fmla="*/ 16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9" h="233">
                  <a:moveTo>
                    <a:pt x="183" y="0"/>
                  </a:moveTo>
                  <a:lnTo>
                    <a:pt x="121" y="70"/>
                  </a:lnTo>
                  <a:lnTo>
                    <a:pt x="146" y="92"/>
                  </a:lnTo>
                  <a:lnTo>
                    <a:pt x="140" y="100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21" y="95"/>
                  </a:lnTo>
                  <a:lnTo>
                    <a:pt x="107" y="91"/>
                  </a:lnTo>
                  <a:lnTo>
                    <a:pt x="89" y="88"/>
                  </a:lnTo>
                  <a:lnTo>
                    <a:pt x="71" y="85"/>
                  </a:lnTo>
                  <a:lnTo>
                    <a:pt x="62" y="85"/>
                  </a:lnTo>
                  <a:lnTo>
                    <a:pt x="52" y="85"/>
                  </a:lnTo>
                  <a:lnTo>
                    <a:pt x="44" y="88"/>
                  </a:lnTo>
                  <a:lnTo>
                    <a:pt x="36" y="90"/>
                  </a:lnTo>
                  <a:lnTo>
                    <a:pt x="29" y="94"/>
                  </a:lnTo>
                  <a:lnTo>
                    <a:pt x="24" y="99"/>
                  </a:lnTo>
                  <a:lnTo>
                    <a:pt x="24" y="99"/>
                  </a:lnTo>
                  <a:lnTo>
                    <a:pt x="16" y="108"/>
                  </a:lnTo>
                  <a:lnTo>
                    <a:pt x="11" y="117"/>
                  </a:lnTo>
                  <a:lnTo>
                    <a:pt x="7" y="128"/>
                  </a:lnTo>
                  <a:lnTo>
                    <a:pt x="3" y="137"/>
                  </a:lnTo>
                  <a:lnTo>
                    <a:pt x="1" y="147"/>
                  </a:lnTo>
                  <a:lnTo>
                    <a:pt x="0" y="155"/>
                  </a:lnTo>
                  <a:lnTo>
                    <a:pt x="0" y="163"/>
                  </a:lnTo>
                  <a:lnTo>
                    <a:pt x="2" y="170"/>
                  </a:lnTo>
                  <a:lnTo>
                    <a:pt x="2" y="170"/>
                  </a:lnTo>
                  <a:lnTo>
                    <a:pt x="3" y="174"/>
                  </a:lnTo>
                  <a:lnTo>
                    <a:pt x="6" y="176"/>
                  </a:lnTo>
                  <a:lnTo>
                    <a:pt x="9" y="178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4" y="179"/>
                  </a:lnTo>
                  <a:lnTo>
                    <a:pt x="17" y="179"/>
                  </a:lnTo>
                  <a:lnTo>
                    <a:pt x="20" y="177"/>
                  </a:lnTo>
                  <a:lnTo>
                    <a:pt x="22" y="175"/>
                  </a:lnTo>
                  <a:lnTo>
                    <a:pt x="27" y="168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3" y="148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8" y="136"/>
                  </a:lnTo>
                  <a:lnTo>
                    <a:pt x="43" y="133"/>
                  </a:lnTo>
                  <a:lnTo>
                    <a:pt x="47" y="131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7" y="129"/>
                  </a:lnTo>
                  <a:lnTo>
                    <a:pt x="64" y="129"/>
                  </a:lnTo>
                  <a:lnTo>
                    <a:pt x="69" y="131"/>
                  </a:lnTo>
                  <a:lnTo>
                    <a:pt x="75" y="134"/>
                  </a:lnTo>
                  <a:lnTo>
                    <a:pt x="75" y="134"/>
                  </a:lnTo>
                  <a:lnTo>
                    <a:pt x="83" y="140"/>
                  </a:lnTo>
                  <a:lnTo>
                    <a:pt x="87" y="147"/>
                  </a:lnTo>
                  <a:lnTo>
                    <a:pt x="90" y="152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104" y="177"/>
                  </a:lnTo>
                  <a:lnTo>
                    <a:pt x="125" y="203"/>
                  </a:lnTo>
                  <a:lnTo>
                    <a:pt x="160" y="233"/>
                  </a:lnTo>
                  <a:lnTo>
                    <a:pt x="222" y="160"/>
                  </a:lnTo>
                  <a:lnTo>
                    <a:pt x="246" y="181"/>
                  </a:lnTo>
                  <a:lnTo>
                    <a:pt x="309" y="112"/>
                  </a:lnTo>
                  <a:lnTo>
                    <a:pt x="183" y="0"/>
                  </a:lnTo>
                  <a:close/>
                  <a:moveTo>
                    <a:pt x="245" y="163"/>
                  </a:moveTo>
                  <a:lnTo>
                    <a:pt x="139" y="69"/>
                  </a:lnTo>
                  <a:lnTo>
                    <a:pt x="184" y="18"/>
                  </a:lnTo>
                  <a:lnTo>
                    <a:pt x="291" y="113"/>
                  </a:lnTo>
                  <a:lnTo>
                    <a:pt x="245" y="16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id="{87FE478C-E8ED-45E5-9702-E0934EA23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87"/>
              <a:ext cx="336" cy="322"/>
            </a:xfrm>
            <a:custGeom>
              <a:avLst/>
              <a:gdLst>
                <a:gd name="T0" fmla="*/ 288 w 336"/>
                <a:gd name="T1" fmla="*/ 212 h 322"/>
                <a:gd name="T2" fmla="*/ 258 w 336"/>
                <a:gd name="T3" fmla="*/ 175 h 322"/>
                <a:gd name="T4" fmla="*/ 252 w 336"/>
                <a:gd name="T5" fmla="*/ 161 h 322"/>
                <a:gd name="T6" fmla="*/ 247 w 336"/>
                <a:gd name="T7" fmla="*/ 153 h 322"/>
                <a:gd name="T8" fmla="*/ 239 w 336"/>
                <a:gd name="T9" fmla="*/ 144 h 322"/>
                <a:gd name="T10" fmla="*/ 228 w 336"/>
                <a:gd name="T11" fmla="*/ 141 h 322"/>
                <a:gd name="T12" fmla="*/ 221 w 336"/>
                <a:gd name="T13" fmla="*/ 143 h 322"/>
                <a:gd name="T14" fmla="*/ 216 w 336"/>
                <a:gd name="T15" fmla="*/ 152 h 322"/>
                <a:gd name="T16" fmla="*/ 209 w 336"/>
                <a:gd name="T17" fmla="*/ 171 h 322"/>
                <a:gd name="T18" fmla="*/ 199 w 336"/>
                <a:gd name="T19" fmla="*/ 187 h 322"/>
                <a:gd name="T20" fmla="*/ 180 w 336"/>
                <a:gd name="T21" fmla="*/ 192 h 322"/>
                <a:gd name="T22" fmla="*/ 169 w 336"/>
                <a:gd name="T23" fmla="*/ 187 h 322"/>
                <a:gd name="T24" fmla="*/ 161 w 336"/>
                <a:gd name="T25" fmla="*/ 174 h 322"/>
                <a:gd name="T26" fmla="*/ 159 w 336"/>
                <a:gd name="T27" fmla="*/ 147 h 322"/>
                <a:gd name="T28" fmla="*/ 170 w 336"/>
                <a:gd name="T29" fmla="*/ 113 h 322"/>
                <a:gd name="T30" fmla="*/ 185 w 336"/>
                <a:gd name="T31" fmla="*/ 91 h 322"/>
                <a:gd name="T32" fmla="*/ 195 w 336"/>
                <a:gd name="T33" fmla="*/ 82 h 322"/>
                <a:gd name="T34" fmla="*/ 186 w 336"/>
                <a:gd name="T35" fmla="*/ 82 h 322"/>
                <a:gd name="T36" fmla="*/ 174 w 336"/>
                <a:gd name="T37" fmla="*/ 81 h 322"/>
                <a:gd name="T38" fmla="*/ 0 w 336"/>
                <a:gd name="T39" fmla="*/ 112 h 322"/>
                <a:gd name="T40" fmla="*/ 117 w 336"/>
                <a:gd name="T41" fmla="*/ 240 h 322"/>
                <a:gd name="T42" fmla="*/ 144 w 336"/>
                <a:gd name="T43" fmla="*/ 212 h 322"/>
                <a:gd name="T44" fmla="*/ 156 w 336"/>
                <a:gd name="T45" fmla="*/ 209 h 322"/>
                <a:gd name="T46" fmla="*/ 165 w 336"/>
                <a:gd name="T47" fmla="*/ 210 h 322"/>
                <a:gd name="T48" fmla="*/ 173 w 336"/>
                <a:gd name="T49" fmla="*/ 215 h 322"/>
                <a:gd name="T50" fmla="*/ 182 w 336"/>
                <a:gd name="T51" fmla="*/ 229 h 322"/>
                <a:gd name="T52" fmla="*/ 183 w 336"/>
                <a:gd name="T53" fmla="*/ 233 h 322"/>
                <a:gd name="T54" fmla="*/ 192 w 336"/>
                <a:gd name="T55" fmla="*/ 235 h 322"/>
                <a:gd name="T56" fmla="*/ 201 w 336"/>
                <a:gd name="T57" fmla="*/ 240 h 322"/>
                <a:gd name="T58" fmla="*/ 209 w 336"/>
                <a:gd name="T59" fmla="*/ 253 h 322"/>
                <a:gd name="T60" fmla="*/ 210 w 336"/>
                <a:gd name="T61" fmla="*/ 258 h 322"/>
                <a:gd name="T62" fmla="*/ 220 w 336"/>
                <a:gd name="T63" fmla="*/ 259 h 322"/>
                <a:gd name="T64" fmla="*/ 228 w 336"/>
                <a:gd name="T65" fmla="*/ 265 h 322"/>
                <a:gd name="T66" fmla="*/ 237 w 336"/>
                <a:gd name="T67" fmla="*/ 278 h 322"/>
                <a:gd name="T68" fmla="*/ 238 w 336"/>
                <a:gd name="T69" fmla="*/ 283 h 322"/>
                <a:gd name="T70" fmla="*/ 247 w 336"/>
                <a:gd name="T71" fmla="*/ 285 h 322"/>
                <a:gd name="T72" fmla="*/ 255 w 336"/>
                <a:gd name="T73" fmla="*/ 290 h 322"/>
                <a:gd name="T74" fmla="*/ 263 w 336"/>
                <a:gd name="T75" fmla="*/ 305 h 322"/>
                <a:gd name="T76" fmla="*/ 273 w 336"/>
                <a:gd name="T77" fmla="*/ 320 h 322"/>
                <a:gd name="T78" fmla="*/ 285 w 336"/>
                <a:gd name="T79" fmla="*/ 321 h 322"/>
                <a:gd name="T80" fmla="*/ 291 w 336"/>
                <a:gd name="T81" fmla="*/ 315 h 322"/>
                <a:gd name="T82" fmla="*/ 290 w 336"/>
                <a:gd name="T83" fmla="*/ 307 h 322"/>
                <a:gd name="T84" fmla="*/ 252 w 336"/>
                <a:gd name="T85" fmla="*/ 256 h 322"/>
                <a:gd name="T86" fmla="*/ 299 w 336"/>
                <a:gd name="T87" fmla="*/ 295 h 322"/>
                <a:gd name="T88" fmla="*/ 308 w 336"/>
                <a:gd name="T89" fmla="*/ 295 h 322"/>
                <a:gd name="T90" fmla="*/ 313 w 336"/>
                <a:gd name="T91" fmla="*/ 289 h 322"/>
                <a:gd name="T92" fmla="*/ 312 w 336"/>
                <a:gd name="T93" fmla="*/ 281 h 322"/>
                <a:gd name="T94" fmla="*/ 274 w 336"/>
                <a:gd name="T95" fmla="*/ 230 h 322"/>
                <a:gd name="T96" fmla="*/ 321 w 336"/>
                <a:gd name="T97" fmla="*/ 270 h 322"/>
                <a:gd name="T98" fmla="*/ 330 w 336"/>
                <a:gd name="T99" fmla="*/ 270 h 322"/>
                <a:gd name="T100" fmla="*/ 335 w 336"/>
                <a:gd name="T101" fmla="*/ 264 h 322"/>
                <a:gd name="T102" fmla="*/ 334 w 336"/>
                <a:gd name="T103" fmla="*/ 255 h 322"/>
                <a:gd name="T104" fmla="*/ 63 w 336"/>
                <a:gd name="T105" fmla="*/ 163 h 322"/>
                <a:gd name="T106" fmla="*/ 170 w 336"/>
                <a:gd name="T107" fmla="*/ 6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6" h="322">
                  <a:moveTo>
                    <a:pt x="332" y="252"/>
                  </a:moveTo>
                  <a:lnTo>
                    <a:pt x="288" y="212"/>
                  </a:lnTo>
                  <a:lnTo>
                    <a:pt x="288" y="212"/>
                  </a:lnTo>
                  <a:lnTo>
                    <a:pt x="288" y="212"/>
                  </a:lnTo>
                  <a:lnTo>
                    <a:pt x="265" y="186"/>
                  </a:lnTo>
                  <a:lnTo>
                    <a:pt x="258" y="175"/>
                  </a:lnTo>
                  <a:lnTo>
                    <a:pt x="254" y="169"/>
                  </a:lnTo>
                  <a:lnTo>
                    <a:pt x="254" y="169"/>
                  </a:lnTo>
                  <a:lnTo>
                    <a:pt x="252" y="161"/>
                  </a:lnTo>
                  <a:lnTo>
                    <a:pt x="252" y="161"/>
                  </a:lnTo>
                  <a:lnTo>
                    <a:pt x="250" y="157"/>
                  </a:lnTo>
                  <a:lnTo>
                    <a:pt x="247" y="153"/>
                  </a:lnTo>
                  <a:lnTo>
                    <a:pt x="244" y="149"/>
                  </a:lnTo>
                  <a:lnTo>
                    <a:pt x="239" y="144"/>
                  </a:lnTo>
                  <a:lnTo>
                    <a:pt x="239" y="144"/>
                  </a:lnTo>
                  <a:lnTo>
                    <a:pt x="235" y="142"/>
                  </a:lnTo>
                  <a:lnTo>
                    <a:pt x="232" y="141"/>
                  </a:lnTo>
                  <a:lnTo>
                    <a:pt x="228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1" y="143"/>
                  </a:lnTo>
                  <a:lnTo>
                    <a:pt x="218" y="147"/>
                  </a:lnTo>
                  <a:lnTo>
                    <a:pt x="218" y="147"/>
                  </a:lnTo>
                  <a:lnTo>
                    <a:pt x="216" y="152"/>
                  </a:lnTo>
                  <a:lnTo>
                    <a:pt x="214" y="159"/>
                  </a:lnTo>
                  <a:lnTo>
                    <a:pt x="214" y="159"/>
                  </a:lnTo>
                  <a:lnTo>
                    <a:pt x="209" y="171"/>
                  </a:lnTo>
                  <a:lnTo>
                    <a:pt x="207" y="177"/>
                  </a:lnTo>
                  <a:lnTo>
                    <a:pt x="203" y="182"/>
                  </a:lnTo>
                  <a:lnTo>
                    <a:pt x="199" y="187"/>
                  </a:lnTo>
                  <a:lnTo>
                    <a:pt x="193" y="191"/>
                  </a:lnTo>
                  <a:lnTo>
                    <a:pt x="187" y="192"/>
                  </a:lnTo>
                  <a:lnTo>
                    <a:pt x="180" y="192"/>
                  </a:lnTo>
                  <a:lnTo>
                    <a:pt x="180" y="192"/>
                  </a:lnTo>
                  <a:lnTo>
                    <a:pt x="173" y="190"/>
                  </a:lnTo>
                  <a:lnTo>
                    <a:pt x="169" y="187"/>
                  </a:lnTo>
                  <a:lnTo>
                    <a:pt x="164" y="181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0" y="167"/>
                  </a:lnTo>
                  <a:lnTo>
                    <a:pt x="159" y="157"/>
                  </a:lnTo>
                  <a:lnTo>
                    <a:pt x="159" y="147"/>
                  </a:lnTo>
                  <a:lnTo>
                    <a:pt x="161" y="135"/>
                  </a:lnTo>
                  <a:lnTo>
                    <a:pt x="165" y="123"/>
                  </a:lnTo>
                  <a:lnTo>
                    <a:pt x="170" y="113"/>
                  </a:lnTo>
                  <a:lnTo>
                    <a:pt x="177" y="101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9" y="86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86" y="82"/>
                  </a:lnTo>
                  <a:lnTo>
                    <a:pt x="186" y="82"/>
                  </a:lnTo>
                  <a:lnTo>
                    <a:pt x="180" y="82"/>
                  </a:lnTo>
                  <a:lnTo>
                    <a:pt x="174" y="81"/>
                  </a:lnTo>
                  <a:lnTo>
                    <a:pt x="188" y="70"/>
                  </a:lnTo>
                  <a:lnTo>
                    <a:pt x="125" y="0"/>
                  </a:lnTo>
                  <a:lnTo>
                    <a:pt x="0" y="112"/>
                  </a:lnTo>
                  <a:lnTo>
                    <a:pt x="62" y="181"/>
                  </a:lnTo>
                  <a:lnTo>
                    <a:pt x="78" y="168"/>
                  </a:lnTo>
                  <a:lnTo>
                    <a:pt x="117" y="240"/>
                  </a:lnTo>
                  <a:lnTo>
                    <a:pt x="141" y="215"/>
                  </a:lnTo>
                  <a:lnTo>
                    <a:pt x="141" y="215"/>
                  </a:lnTo>
                  <a:lnTo>
                    <a:pt x="144" y="212"/>
                  </a:lnTo>
                  <a:lnTo>
                    <a:pt x="148" y="210"/>
                  </a:lnTo>
                  <a:lnTo>
                    <a:pt x="151" y="209"/>
                  </a:lnTo>
                  <a:lnTo>
                    <a:pt x="156" y="209"/>
                  </a:lnTo>
                  <a:lnTo>
                    <a:pt x="156" y="209"/>
                  </a:lnTo>
                  <a:lnTo>
                    <a:pt x="161" y="209"/>
                  </a:lnTo>
                  <a:lnTo>
                    <a:pt x="165" y="210"/>
                  </a:lnTo>
                  <a:lnTo>
                    <a:pt x="170" y="212"/>
                  </a:lnTo>
                  <a:lnTo>
                    <a:pt x="173" y="215"/>
                  </a:lnTo>
                  <a:lnTo>
                    <a:pt x="173" y="215"/>
                  </a:lnTo>
                  <a:lnTo>
                    <a:pt x="178" y="219"/>
                  </a:lnTo>
                  <a:lnTo>
                    <a:pt x="180" y="224"/>
                  </a:lnTo>
                  <a:lnTo>
                    <a:pt x="182" y="229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8" y="234"/>
                  </a:lnTo>
                  <a:lnTo>
                    <a:pt x="192" y="235"/>
                  </a:lnTo>
                  <a:lnTo>
                    <a:pt x="197" y="237"/>
                  </a:lnTo>
                  <a:lnTo>
                    <a:pt x="201" y="240"/>
                  </a:lnTo>
                  <a:lnTo>
                    <a:pt x="201" y="240"/>
                  </a:lnTo>
                  <a:lnTo>
                    <a:pt x="205" y="245"/>
                  </a:lnTo>
                  <a:lnTo>
                    <a:pt x="207" y="249"/>
                  </a:lnTo>
                  <a:lnTo>
                    <a:pt x="209" y="253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10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0" y="259"/>
                  </a:lnTo>
                  <a:lnTo>
                    <a:pt x="224" y="263"/>
                  </a:lnTo>
                  <a:lnTo>
                    <a:pt x="228" y="265"/>
                  </a:lnTo>
                  <a:lnTo>
                    <a:pt x="228" y="265"/>
                  </a:lnTo>
                  <a:lnTo>
                    <a:pt x="232" y="269"/>
                  </a:lnTo>
                  <a:lnTo>
                    <a:pt x="235" y="273"/>
                  </a:lnTo>
                  <a:lnTo>
                    <a:pt x="237" y="278"/>
                  </a:lnTo>
                  <a:lnTo>
                    <a:pt x="237" y="283"/>
                  </a:lnTo>
                  <a:lnTo>
                    <a:pt x="237" y="283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42" y="284"/>
                  </a:lnTo>
                  <a:lnTo>
                    <a:pt x="247" y="285"/>
                  </a:lnTo>
                  <a:lnTo>
                    <a:pt x="251" y="287"/>
                  </a:lnTo>
                  <a:lnTo>
                    <a:pt x="255" y="290"/>
                  </a:lnTo>
                  <a:lnTo>
                    <a:pt x="255" y="290"/>
                  </a:lnTo>
                  <a:lnTo>
                    <a:pt x="259" y="294"/>
                  </a:lnTo>
                  <a:lnTo>
                    <a:pt x="261" y="300"/>
                  </a:lnTo>
                  <a:lnTo>
                    <a:pt x="263" y="305"/>
                  </a:lnTo>
                  <a:lnTo>
                    <a:pt x="263" y="311"/>
                  </a:lnTo>
                  <a:lnTo>
                    <a:pt x="273" y="320"/>
                  </a:lnTo>
                  <a:lnTo>
                    <a:pt x="273" y="320"/>
                  </a:lnTo>
                  <a:lnTo>
                    <a:pt x="277" y="322"/>
                  </a:lnTo>
                  <a:lnTo>
                    <a:pt x="281" y="322"/>
                  </a:lnTo>
                  <a:lnTo>
                    <a:pt x="285" y="321"/>
                  </a:lnTo>
                  <a:lnTo>
                    <a:pt x="289" y="319"/>
                  </a:lnTo>
                  <a:lnTo>
                    <a:pt x="289" y="319"/>
                  </a:lnTo>
                  <a:lnTo>
                    <a:pt x="291" y="315"/>
                  </a:lnTo>
                  <a:lnTo>
                    <a:pt x="291" y="311"/>
                  </a:lnTo>
                  <a:lnTo>
                    <a:pt x="291" y="311"/>
                  </a:lnTo>
                  <a:lnTo>
                    <a:pt x="290" y="307"/>
                  </a:lnTo>
                  <a:lnTo>
                    <a:pt x="288" y="303"/>
                  </a:lnTo>
                  <a:lnTo>
                    <a:pt x="243" y="266"/>
                  </a:lnTo>
                  <a:lnTo>
                    <a:pt x="252" y="256"/>
                  </a:lnTo>
                  <a:lnTo>
                    <a:pt x="295" y="293"/>
                  </a:lnTo>
                  <a:lnTo>
                    <a:pt x="295" y="293"/>
                  </a:lnTo>
                  <a:lnTo>
                    <a:pt x="299" y="295"/>
                  </a:lnTo>
                  <a:lnTo>
                    <a:pt x="303" y="296"/>
                  </a:lnTo>
                  <a:lnTo>
                    <a:pt x="303" y="296"/>
                  </a:lnTo>
                  <a:lnTo>
                    <a:pt x="308" y="295"/>
                  </a:lnTo>
                  <a:lnTo>
                    <a:pt x="311" y="293"/>
                  </a:lnTo>
                  <a:lnTo>
                    <a:pt x="311" y="293"/>
                  </a:lnTo>
                  <a:lnTo>
                    <a:pt x="313" y="289"/>
                  </a:lnTo>
                  <a:lnTo>
                    <a:pt x="313" y="285"/>
                  </a:lnTo>
                  <a:lnTo>
                    <a:pt x="313" y="285"/>
                  </a:lnTo>
                  <a:lnTo>
                    <a:pt x="312" y="281"/>
                  </a:lnTo>
                  <a:lnTo>
                    <a:pt x="310" y="277"/>
                  </a:lnTo>
                  <a:lnTo>
                    <a:pt x="266" y="239"/>
                  </a:lnTo>
                  <a:lnTo>
                    <a:pt x="274" y="230"/>
                  </a:lnTo>
                  <a:lnTo>
                    <a:pt x="318" y="268"/>
                  </a:lnTo>
                  <a:lnTo>
                    <a:pt x="318" y="268"/>
                  </a:lnTo>
                  <a:lnTo>
                    <a:pt x="321" y="270"/>
                  </a:lnTo>
                  <a:lnTo>
                    <a:pt x="326" y="271"/>
                  </a:lnTo>
                  <a:lnTo>
                    <a:pt x="326" y="271"/>
                  </a:lnTo>
                  <a:lnTo>
                    <a:pt x="330" y="270"/>
                  </a:lnTo>
                  <a:lnTo>
                    <a:pt x="333" y="267"/>
                  </a:lnTo>
                  <a:lnTo>
                    <a:pt x="333" y="267"/>
                  </a:lnTo>
                  <a:lnTo>
                    <a:pt x="335" y="264"/>
                  </a:lnTo>
                  <a:lnTo>
                    <a:pt x="336" y="259"/>
                  </a:lnTo>
                  <a:lnTo>
                    <a:pt x="336" y="259"/>
                  </a:lnTo>
                  <a:lnTo>
                    <a:pt x="334" y="255"/>
                  </a:lnTo>
                  <a:lnTo>
                    <a:pt x="332" y="252"/>
                  </a:lnTo>
                  <a:lnTo>
                    <a:pt x="332" y="252"/>
                  </a:lnTo>
                  <a:close/>
                  <a:moveTo>
                    <a:pt x="63" y="163"/>
                  </a:moveTo>
                  <a:lnTo>
                    <a:pt x="18" y="113"/>
                  </a:lnTo>
                  <a:lnTo>
                    <a:pt x="124" y="18"/>
                  </a:lnTo>
                  <a:lnTo>
                    <a:pt x="170" y="69"/>
                  </a:lnTo>
                  <a:lnTo>
                    <a:pt x="63" y="16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id="{99150AC4-4744-4996-9C3E-87E63DB3C2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87"/>
              <a:ext cx="336" cy="322"/>
            </a:xfrm>
            <a:custGeom>
              <a:avLst/>
              <a:gdLst>
                <a:gd name="T0" fmla="*/ 288 w 336"/>
                <a:gd name="T1" fmla="*/ 212 h 322"/>
                <a:gd name="T2" fmla="*/ 258 w 336"/>
                <a:gd name="T3" fmla="*/ 175 h 322"/>
                <a:gd name="T4" fmla="*/ 252 w 336"/>
                <a:gd name="T5" fmla="*/ 161 h 322"/>
                <a:gd name="T6" fmla="*/ 247 w 336"/>
                <a:gd name="T7" fmla="*/ 153 h 322"/>
                <a:gd name="T8" fmla="*/ 239 w 336"/>
                <a:gd name="T9" fmla="*/ 144 h 322"/>
                <a:gd name="T10" fmla="*/ 228 w 336"/>
                <a:gd name="T11" fmla="*/ 141 h 322"/>
                <a:gd name="T12" fmla="*/ 221 w 336"/>
                <a:gd name="T13" fmla="*/ 143 h 322"/>
                <a:gd name="T14" fmla="*/ 216 w 336"/>
                <a:gd name="T15" fmla="*/ 152 h 322"/>
                <a:gd name="T16" fmla="*/ 209 w 336"/>
                <a:gd name="T17" fmla="*/ 171 h 322"/>
                <a:gd name="T18" fmla="*/ 199 w 336"/>
                <a:gd name="T19" fmla="*/ 187 h 322"/>
                <a:gd name="T20" fmla="*/ 180 w 336"/>
                <a:gd name="T21" fmla="*/ 192 h 322"/>
                <a:gd name="T22" fmla="*/ 169 w 336"/>
                <a:gd name="T23" fmla="*/ 187 h 322"/>
                <a:gd name="T24" fmla="*/ 161 w 336"/>
                <a:gd name="T25" fmla="*/ 174 h 322"/>
                <a:gd name="T26" fmla="*/ 159 w 336"/>
                <a:gd name="T27" fmla="*/ 147 h 322"/>
                <a:gd name="T28" fmla="*/ 170 w 336"/>
                <a:gd name="T29" fmla="*/ 113 h 322"/>
                <a:gd name="T30" fmla="*/ 185 w 336"/>
                <a:gd name="T31" fmla="*/ 91 h 322"/>
                <a:gd name="T32" fmla="*/ 195 w 336"/>
                <a:gd name="T33" fmla="*/ 82 h 322"/>
                <a:gd name="T34" fmla="*/ 186 w 336"/>
                <a:gd name="T35" fmla="*/ 82 h 322"/>
                <a:gd name="T36" fmla="*/ 174 w 336"/>
                <a:gd name="T37" fmla="*/ 81 h 322"/>
                <a:gd name="T38" fmla="*/ 0 w 336"/>
                <a:gd name="T39" fmla="*/ 112 h 322"/>
                <a:gd name="T40" fmla="*/ 117 w 336"/>
                <a:gd name="T41" fmla="*/ 240 h 322"/>
                <a:gd name="T42" fmla="*/ 144 w 336"/>
                <a:gd name="T43" fmla="*/ 212 h 322"/>
                <a:gd name="T44" fmla="*/ 156 w 336"/>
                <a:gd name="T45" fmla="*/ 209 h 322"/>
                <a:gd name="T46" fmla="*/ 165 w 336"/>
                <a:gd name="T47" fmla="*/ 210 h 322"/>
                <a:gd name="T48" fmla="*/ 173 w 336"/>
                <a:gd name="T49" fmla="*/ 215 h 322"/>
                <a:gd name="T50" fmla="*/ 182 w 336"/>
                <a:gd name="T51" fmla="*/ 229 h 322"/>
                <a:gd name="T52" fmla="*/ 183 w 336"/>
                <a:gd name="T53" fmla="*/ 233 h 322"/>
                <a:gd name="T54" fmla="*/ 192 w 336"/>
                <a:gd name="T55" fmla="*/ 235 h 322"/>
                <a:gd name="T56" fmla="*/ 201 w 336"/>
                <a:gd name="T57" fmla="*/ 240 h 322"/>
                <a:gd name="T58" fmla="*/ 209 w 336"/>
                <a:gd name="T59" fmla="*/ 253 h 322"/>
                <a:gd name="T60" fmla="*/ 210 w 336"/>
                <a:gd name="T61" fmla="*/ 258 h 322"/>
                <a:gd name="T62" fmla="*/ 220 w 336"/>
                <a:gd name="T63" fmla="*/ 259 h 322"/>
                <a:gd name="T64" fmla="*/ 228 w 336"/>
                <a:gd name="T65" fmla="*/ 265 h 322"/>
                <a:gd name="T66" fmla="*/ 237 w 336"/>
                <a:gd name="T67" fmla="*/ 278 h 322"/>
                <a:gd name="T68" fmla="*/ 238 w 336"/>
                <a:gd name="T69" fmla="*/ 283 h 322"/>
                <a:gd name="T70" fmla="*/ 247 w 336"/>
                <a:gd name="T71" fmla="*/ 285 h 322"/>
                <a:gd name="T72" fmla="*/ 255 w 336"/>
                <a:gd name="T73" fmla="*/ 290 h 322"/>
                <a:gd name="T74" fmla="*/ 263 w 336"/>
                <a:gd name="T75" fmla="*/ 305 h 322"/>
                <a:gd name="T76" fmla="*/ 273 w 336"/>
                <a:gd name="T77" fmla="*/ 320 h 322"/>
                <a:gd name="T78" fmla="*/ 285 w 336"/>
                <a:gd name="T79" fmla="*/ 321 h 322"/>
                <a:gd name="T80" fmla="*/ 291 w 336"/>
                <a:gd name="T81" fmla="*/ 315 h 322"/>
                <a:gd name="T82" fmla="*/ 290 w 336"/>
                <a:gd name="T83" fmla="*/ 307 h 322"/>
                <a:gd name="T84" fmla="*/ 252 w 336"/>
                <a:gd name="T85" fmla="*/ 256 h 322"/>
                <a:gd name="T86" fmla="*/ 299 w 336"/>
                <a:gd name="T87" fmla="*/ 295 h 322"/>
                <a:gd name="T88" fmla="*/ 308 w 336"/>
                <a:gd name="T89" fmla="*/ 295 h 322"/>
                <a:gd name="T90" fmla="*/ 313 w 336"/>
                <a:gd name="T91" fmla="*/ 289 h 322"/>
                <a:gd name="T92" fmla="*/ 312 w 336"/>
                <a:gd name="T93" fmla="*/ 281 h 322"/>
                <a:gd name="T94" fmla="*/ 274 w 336"/>
                <a:gd name="T95" fmla="*/ 230 h 322"/>
                <a:gd name="T96" fmla="*/ 321 w 336"/>
                <a:gd name="T97" fmla="*/ 270 h 322"/>
                <a:gd name="T98" fmla="*/ 330 w 336"/>
                <a:gd name="T99" fmla="*/ 270 h 322"/>
                <a:gd name="T100" fmla="*/ 335 w 336"/>
                <a:gd name="T101" fmla="*/ 264 h 322"/>
                <a:gd name="T102" fmla="*/ 334 w 336"/>
                <a:gd name="T103" fmla="*/ 255 h 322"/>
                <a:gd name="T104" fmla="*/ 63 w 336"/>
                <a:gd name="T105" fmla="*/ 163 h 322"/>
                <a:gd name="T106" fmla="*/ 170 w 336"/>
                <a:gd name="T107" fmla="*/ 6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6" h="322">
                  <a:moveTo>
                    <a:pt x="332" y="252"/>
                  </a:moveTo>
                  <a:lnTo>
                    <a:pt x="288" y="212"/>
                  </a:lnTo>
                  <a:lnTo>
                    <a:pt x="288" y="212"/>
                  </a:lnTo>
                  <a:lnTo>
                    <a:pt x="288" y="212"/>
                  </a:lnTo>
                  <a:lnTo>
                    <a:pt x="265" y="186"/>
                  </a:lnTo>
                  <a:lnTo>
                    <a:pt x="258" y="175"/>
                  </a:lnTo>
                  <a:lnTo>
                    <a:pt x="254" y="169"/>
                  </a:lnTo>
                  <a:lnTo>
                    <a:pt x="254" y="169"/>
                  </a:lnTo>
                  <a:lnTo>
                    <a:pt x="252" y="161"/>
                  </a:lnTo>
                  <a:lnTo>
                    <a:pt x="252" y="161"/>
                  </a:lnTo>
                  <a:lnTo>
                    <a:pt x="250" y="157"/>
                  </a:lnTo>
                  <a:lnTo>
                    <a:pt x="247" y="153"/>
                  </a:lnTo>
                  <a:lnTo>
                    <a:pt x="244" y="149"/>
                  </a:lnTo>
                  <a:lnTo>
                    <a:pt x="239" y="144"/>
                  </a:lnTo>
                  <a:lnTo>
                    <a:pt x="239" y="144"/>
                  </a:lnTo>
                  <a:lnTo>
                    <a:pt x="235" y="142"/>
                  </a:lnTo>
                  <a:lnTo>
                    <a:pt x="232" y="141"/>
                  </a:lnTo>
                  <a:lnTo>
                    <a:pt x="228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1" y="143"/>
                  </a:lnTo>
                  <a:lnTo>
                    <a:pt x="218" y="147"/>
                  </a:lnTo>
                  <a:lnTo>
                    <a:pt x="218" y="147"/>
                  </a:lnTo>
                  <a:lnTo>
                    <a:pt x="216" y="152"/>
                  </a:lnTo>
                  <a:lnTo>
                    <a:pt x="214" y="159"/>
                  </a:lnTo>
                  <a:lnTo>
                    <a:pt x="214" y="159"/>
                  </a:lnTo>
                  <a:lnTo>
                    <a:pt x="209" y="171"/>
                  </a:lnTo>
                  <a:lnTo>
                    <a:pt x="207" y="177"/>
                  </a:lnTo>
                  <a:lnTo>
                    <a:pt x="203" y="182"/>
                  </a:lnTo>
                  <a:lnTo>
                    <a:pt x="199" y="187"/>
                  </a:lnTo>
                  <a:lnTo>
                    <a:pt x="193" y="191"/>
                  </a:lnTo>
                  <a:lnTo>
                    <a:pt x="187" y="192"/>
                  </a:lnTo>
                  <a:lnTo>
                    <a:pt x="180" y="192"/>
                  </a:lnTo>
                  <a:lnTo>
                    <a:pt x="180" y="192"/>
                  </a:lnTo>
                  <a:lnTo>
                    <a:pt x="173" y="190"/>
                  </a:lnTo>
                  <a:lnTo>
                    <a:pt x="169" y="187"/>
                  </a:lnTo>
                  <a:lnTo>
                    <a:pt x="164" y="181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0" y="167"/>
                  </a:lnTo>
                  <a:lnTo>
                    <a:pt x="159" y="157"/>
                  </a:lnTo>
                  <a:lnTo>
                    <a:pt x="159" y="147"/>
                  </a:lnTo>
                  <a:lnTo>
                    <a:pt x="161" y="135"/>
                  </a:lnTo>
                  <a:lnTo>
                    <a:pt x="165" y="123"/>
                  </a:lnTo>
                  <a:lnTo>
                    <a:pt x="170" y="113"/>
                  </a:lnTo>
                  <a:lnTo>
                    <a:pt x="177" y="101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9" y="86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86" y="82"/>
                  </a:lnTo>
                  <a:lnTo>
                    <a:pt x="186" y="82"/>
                  </a:lnTo>
                  <a:lnTo>
                    <a:pt x="180" y="82"/>
                  </a:lnTo>
                  <a:lnTo>
                    <a:pt x="174" y="81"/>
                  </a:lnTo>
                  <a:lnTo>
                    <a:pt x="188" y="70"/>
                  </a:lnTo>
                  <a:lnTo>
                    <a:pt x="125" y="0"/>
                  </a:lnTo>
                  <a:lnTo>
                    <a:pt x="0" y="112"/>
                  </a:lnTo>
                  <a:lnTo>
                    <a:pt x="62" y="181"/>
                  </a:lnTo>
                  <a:lnTo>
                    <a:pt x="78" y="168"/>
                  </a:lnTo>
                  <a:lnTo>
                    <a:pt x="117" y="240"/>
                  </a:lnTo>
                  <a:lnTo>
                    <a:pt x="141" y="215"/>
                  </a:lnTo>
                  <a:lnTo>
                    <a:pt x="141" y="215"/>
                  </a:lnTo>
                  <a:lnTo>
                    <a:pt x="144" y="212"/>
                  </a:lnTo>
                  <a:lnTo>
                    <a:pt x="148" y="210"/>
                  </a:lnTo>
                  <a:lnTo>
                    <a:pt x="151" y="209"/>
                  </a:lnTo>
                  <a:lnTo>
                    <a:pt x="156" y="209"/>
                  </a:lnTo>
                  <a:lnTo>
                    <a:pt x="156" y="209"/>
                  </a:lnTo>
                  <a:lnTo>
                    <a:pt x="161" y="209"/>
                  </a:lnTo>
                  <a:lnTo>
                    <a:pt x="165" y="210"/>
                  </a:lnTo>
                  <a:lnTo>
                    <a:pt x="170" y="212"/>
                  </a:lnTo>
                  <a:lnTo>
                    <a:pt x="173" y="215"/>
                  </a:lnTo>
                  <a:lnTo>
                    <a:pt x="173" y="215"/>
                  </a:lnTo>
                  <a:lnTo>
                    <a:pt x="178" y="219"/>
                  </a:lnTo>
                  <a:lnTo>
                    <a:pt x="180" y="224"/>
                  </a:lnTo>
                  <a:lnTo>
                    <a:pt x="182" y="229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8" y="234"/>
                  </a:lnTo>
                  <a:lnTo>
                    <a:pt x="192" y="235"/>
                  </a:lnTo>
                  <a:lnTo>
                    <a:pt x="197" y="237"/>
                  </a:lnTo>
                  <a:lnTo>
                    <a:pt x="201" y="240"/>
                  </a:lnTo>
                  <a:lnTo>
                    <a:pt x="201" y="240"/>
                  </a:lnTo>
                  <a:lnTo>
                    <a:pt x="205" y="245"/>
                  </a:lnTo>
                  <a:lnTo>
                    <a:pt x="207" y="249"/>
                  </a:lnTo>
                  <a:lnTo>
                    <a:pt x="209" y="253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10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0" y="259"/>
                  </a:lnTo>
                  <a:lnTo>
                    <a:pt x="224" y="263"/>
                  </a:lnTo>
                  <a:lnTo>
                    <a:pt x="228" y="265"/>
                  </a:lnTo>
                  <a:lnTo>
                    <a:pt x="228" y="265"/>
                  </a:lnTo>
                  <a:lnTo>
                    <a:pt x="232" y="269"/>
                  </a:lnTo>
                  <a:lnTo>
                    <a:pt x="235" y="273"/>
                  </a:lnTo>
                  <a:lnTo>
                    <a:pt x="237" y="278"/>
                  </a:lnTo>
                  <a:lnTo>
                    <a:pt x="237" y="283"/>
                  </a:lnTo>
                  <a:lnTo>
                    <a:pt x="237" y="283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42" y="284"/>
                  </a:lnTo>
                  <a:lnTo>
                    <a:pt x="247" y="285"/>
                  </a:lnTo>
                  <a:lnTo>
                    <a:pt x="251" y="287"/>
                  </a:lnTo>
                  <a:lnTo>
                    <a:pt x="255" y="290"/>
                  </a:lnTo>
                  <a:lnTo>
                    <a:pt x="255" y="290"/>
                  </a:lnTo>
                  <a:lnTo>
                    <a:pt x="259" y="294"/>
                  </a:lnTo>
                  <a:lnTo>
                    <a:pt x="261" y="300"/>
                  </a:lnTo>
                  <a:lnTo>
                    <a:pt x="263" y="305"/>
                  </a:lnTo>
                  <a:lnTo>
                    <a:pt x="263" y="311"/>
                  </a:lnTo>
                  <a:lnTo>
                    <a:pt x="273" y="320"/>
                  </a:lnTo>
                  <a:lnTo>
                    <a:pt x="273" y="320"/>
                  </a:lnTo>
                  <a:lnTo>
                    <a:pt x="277" y="322"/>
                  </a:lnTo>
                  <a:lnTo>
                    <a:pt x="281" y="322"/>
                  </a:lnTo>
                  <a:lnTo>
                    <a:pt x="285" y="321"/>
                  </a:lnTo>
                  <a:lnTo>
                    <a:pt x="289" y="319"/>
                  </a:lnTo>
                  <a:lnTo>
                    <a:pt x="289" y="319"/>
                  </a:lnTo>
                  <a:lnTo>
                    <a:pt x="291" y="315"/>
                  </a:lnTo>
                  <a:lnTo>
                    <a:pt x="291" y="311"/>
                  </a:lnTo>
                  <a:lnTo>
                    <a:pt x="291" y="311"/>
                  </a:lnTo>
                  <a:lnTo>
                    <a:pt x="290" y="307"/>
                  </a:lnTo>
                  <a:lnTo>
                    <a:pt x="288" y="303"/>
                  </a:lnTo>
                  <a:lnTo>
                    <a:pt x="243" y="266"/>
                  </a:lnTo>
                  <a:lnTo>
                    <a:pt x="252" y="256"/>
                  </a:lnTo>
                  <a:lnTo>
                    <a:pt x="295" y="293"/>
                  </a:lnTo>
                  <a:lnTo>
                    <a:pt x="295" y="293"/>
                  </a:lnTo>
                  <a:lnTo>
                    <a:pt x="299" y="295"/>
                  </a:lnTo>
                  <a:lnTo>
                    <a:pt x="303" y="296"/>
                  </a:lnTo>
                  <a:lnTo>
                    <a:pt x="303" y="296"/>
                  </a:lnTo>
                  <a:lnTo>
                    <a:pt x="308" y="295"/>
                  </a:lnTo>
                  <a:lnTo>
                    <a:pt x="311" y="293"/>
                  </a:lnTo>
                  <a:lnTo>
                    <a:pt x="311" y="293"/>
                  </a:lnTo>
                  <a:lnTo>
                    <a:pt x="313" y="289"/>
                  </a:lnTo>
                  <a:lnTo>
                    <a:pt x="313" y="285"/>
                  </a:lnTo>
                  <a:lnTo>
                    <a:pt x="313" y="285"/>
                  </a:lnTo>
                  <a:lnTo>
                    <a:pt x="312" y="281"/>
                  </a:lnTo>
                  <a:lnTo>
                    <a:pt x="310" y="277"/>
                  </a:lnTo>
                  <a:lnTo>
                    <a:pt x="266" y="239"/>
                  </a:lnTo>
                  <a:lnTo>
                    <a:pt x="274" y="230"/>
                  </a:lnTo>
                  <a:lnTo>
                    <a:pt x="318" y="268"/>
                  </a:lnTo>
                  <a:lnTo>
                    <a:pt x="318" y="268"/>
                  </a:lnTo>
                  <a:lnTo>
                    <a:pt x="321" y="270"/>
                  </a:lnTo>
                  <a:lnTo>
                    <a:pt x="326" y="271"/>
                  </a:lnTo>
                  <a:lnTo>
                    <a:pt x="326" y="271"/>
                  </a:lnTo>
                  <a:lnTo>
                    <a:pt x="330" y="270"/>
                  </a:lnTo>
                  <a:lnTo>
                    <a:pt x="333" y="267"/>
                  </a:lnTo>
                  <a:lnTo>
                    <a:pt x="333" y="267"/>
                  </a:lnTo>
                  <a:lnTo>
                    <a:pt x="335" y="264"/>
                  </a:lnTo>
                  <a:lnTo>
                    <a:pt x="336" y="259"/>
                  </a:lnTo>
                  <a:lnTo>
                    <a:pt x="336" y="259"/>
                  </a:lnTo>
                  <a:lnTo>
                    <a:pt x="334" y="255"/>
                  </a:lnTo>
                  <a:lnTo>
                    <a:pt x="332" y="252"/>
                  </a:lnTo>
                  <a:lnTo>
                    <a:pt x="332" y="252"/>
                  </a:lnTo>
                  <a:close/>
                  <a:moveTo>
                    <a:pt x="63" y="163"/>
                  </a:moveTo>
                  <a:lnTo>
                    <a:pt x="18" y="113"/>
                  </a:lnTo>
                  <a:lnTo>
                    <a:pt x="124" y="18"/>
                  </a:lnTo>
                  <a:lnTo>
                    <a:pt x="170" y="69"/>
                  </a:lnTo>
                  <a:lnTo>
                    <a:pt x="63" y="16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6BE5B337-D674-44F6-B990-964D40A39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5" y="2310"/>
              <a:ext cx="25" cy="24"/>
            </a:xfrm>
            <a:custGeom>
              <a:avLst/>
              <a:gdLst>
                <a:gd name="T0" fmla="*/ 20 w 25"/>
                <a:gd name="T1" fmla="*/ 6 h 24"/>
                <a:gd name="T2" fmla="*/ 14 w 25"/>
                <a:gd name="T3" fmla="*/ 0 h 24"/>
                <a:gd name="T4" fmla="*/ 14 w 25"/>
                <a:gd name="T5" fmla="*/ 0 h 24"/>
                <a:gd name="T6" fmla="*/ 14 w 25"/>
                <a:gd name="T7" fmla="*/ 0 h 24"/>
                <a:gd name="T8" fmla="*/ 0 w 25"/>
                <a:gd name="T9" fmla="*/ 15 h 24"/>
                <a:gd name="T10" fmla="*/ 7 w 25"/>
                <a:gd name="T11" fmla="*/ 20 h 24"/>
                <a:gd name="T12" fmla="*/ 7 w 25"/>
                <a:gd name="T13" fmla="*/ 20 h 24"/>
                <a:gd name="T14" fmla="*/ 11 w 25"/>
                <a:gd name="T15" fmla="*/ 23 h 24"/>
                <a:gd name="T16" fmla="*/ 15 w 25"/>
                <a:gd name="T17" fmla="*/ 24 h 24"/>
                <a:gd name="T18" fmla="*/ 19 w 25"/>
                <a:gd name="T19" fmla="*/ 23 h 24"/>
                <a:gd name="T20" fmla="*/ 22 w 25"/>
                <a:gd name="T21" fmla="*/ 21 h 24"/>
                <a:gd name="T22" fmla="*/ 22 w 25"/>
                <a:gd name="T23" fmla="*/ 21 h 24"/>
                <a:gd name="T24" fmla="*/ 25 w 25"/>
                <a:gd name="T25" fmla="*/ 18 h 24"/>
                <a:gd name="T26" fmla="*/ 25 w 25"/>
                <a:gd name="T27" fmla="*/ 13 h 24"/>
                <a:gd name="T28" fmla="*/ 23 w 25"/>
                <a:gd name="T29" fmla="*/ 10 h 24"/>
                <a:gd name="T30" fmla="*/ 20 w 25"/>
                <a:gd name="T31" fmla="*/ 6 h 24"/>
                <a:gd name="T32" fmla="*/ 20 w 25"/>
                <a:gd name="T3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24">
                  <a:moveTo>
                    <a:pt x="20" y="6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0" y="15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11" y="23"/>
                  </a:lnTo>
                  <a:lnTo>
                    <a:pt x="15" y="24"/>
                  </a:lnTo>
                  <a:lnTo>
                    <a:pt x="19" y="23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5" y="18"/>
                  </a:lnTo>
                  <a:lnTo>
                    <a:pt x="25" y="13"/>
                  </a:lnTo>
                  <a:lnTo>
                    <a:pt x="23" y="10"/>
                  </a:lnTo>
                  <a:lnTo>
                    <a:pt x="20" y="6"/>
                  </a:lnTo>
                  <a:lnTo>
                    <a:pt x="20" y="6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extBox 2"/>
          <p:cNvSpPr txBox="1"/>
          <p:nvPr/>
        </p:nvSpPr>
        <p:spPr bwMode="gray">
          <a:xfrm>
            <a:off x="5015628" y="1643809"/>
            <a:ext cx="1950760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smtClean="0">
                <a:solidFill>
                  <a:srgbClr val="002060"/>
                </a:solidFill>
              </a:rPr>
              <a:t>Business Financing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 bwMode="gray">
          <a:xfrm>
            <a:off x="6644628" y="2915656"/>
            <a:ext cx="2375850" cy="252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rgbClr val="002060"/>
                </a:solidFill>
              </a:rPr>
              <a:t>Satisfacción</a:t>
            </a:r>
            <a:r>
              <a:rPr lang="en-GB" sz="1600" b="1" dirty="0" smtClean="0">
                <a:solidFill>
                  <a:srgbClr val="002060"/>
                </a:solidFill>
              </a:rPr>
              <a:t> del </a:t>
            </a:r>
            <a:r>
              <a:rPr lang="en-GB" sz="1600" b="1" dirty="0" err="1" smtClean="0">
                <a:solidFill>
                  <a:srgbClr val="002060"/>
                </a:solidFill>
              </a:rPr>
              <a:t>Cliente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 bwMode="gray">
          <a:xfrm>
            <a:off x="6644628" y="5673546"/>
            <a:ext cx="2375850" cy="246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smtClean="0">
                <a:solidFill>
                  <a:srgbClr val="002060"/>
                </a:solidFill>
              </a:rPr>
              <a:t>Expertise </a:t>
            </a:r>
            <a:r>
              <a:rPr lang="en-GB" sz="1600" b="1" dirty="0" err="1" smtClean="0">
                <a:solidFill>
                  <a:srgbClr val="002060"/>
                </a:solidFill>
              </a:rPr>
              <a:t>en</a:t>
            </a:r>
            <a:r>
              <a:rPr lang="en-GB" sz="1600" b="1" dirty="0" smtClean="0">
                <a:solidFill>
                  <a:srgbClr val="002060"/>
                </a:solidFill>
              </a:rPr>
              <a:t> Reaseguro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 bwMode="gray">
          <a:xfrm>
            <a:off x="4856658" y="4542595"/>
            <a:ext cx="2220990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rgbClr val="002060"/>
                </a:solidFill>
              </a:rPr>
              <a:t>Suscripción</a:t>
            </a:r>
            <a:r>
              <a:rPr lang="en-GB" sz="1600" b="1" dirty="0" smtClean="0">
                <a:solidFill>
                  <a:srgbClr val="002060"/>
                </a:solidFill>
              </a:rPr>
              <a:t> </a:t>
            </a:r>
            <a:r>
              <a:rPr lang="en-GB" sz="1600" b="1" dirty="0" err="1" smtClean="0">
                <a:solidFill>
                  <a:srgbClr val="002060"/>
                </a:solidFill>
              </a:rPr>
              <a:t>eficaz</a:t>
            </a:r>
            <a:r>
              <a:rPr lang="en-GB" sz="1600" b="1" dirty="0">
                <a:solidFill>
                  <a:srgbClr val="002060"/>
                </a:solidFill>
              </a:rPr>
              <a:t>,</a:t>
            </a:r>
            <a:r>
              <a:rPr lang="en-GB" sz="1600" b="1" dirty="0" smtClean="0">
                <a:solidFill>
                  <a:srgbClr val="002060"/>
                </a:solidFill>
              </a:rPr>
              <a:t> </a:t>
            </a:r>
            <a:r>
              <a:rPr lang="en-GB" sz="1600" b="1" dirty="0" err="1" smtClean="0">
                <a:solidFill>
                  <a:srgbClr val="002060"/>
                </a:solidFill>
              </a:rPr>
              <a:t>automatización</a:t>
            </a:r>
            <a:r>
              <a:rPr lang="en-GB" sz="1600" b="1" dirty="0" smtClean="0">
                <a:solidFill>
                  <a:srgbClr val="002060"/>
                </a:solidFill>
              </a:rPr>
              <a:t> y </a:t>
            </a:r>
            <a:r>
              <a:rPr lang="en-GB" sz="1600" b="1" dirty="0" err="1" smtClean="0">
                <a:solidFill>
                  <a:srgbClr val="002060"/>
                </a:solidFill>
              </a:rPr>
              <a:t>digitalización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67" name="Group 66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69" name="Rectangle 68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  <a:t/>
                </a:r>
                <a:b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70" name="Picture 6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71" name="Straight Connector 70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2" name="Straight Connector 71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4457210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750551" cy="6490010"/>
            <a:chOff x="1" y="0"/>
            <a:chExt cx="6074407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1" y="0"/>
              <a:ext cx="6074407" cy="6490010"/>
              <a:chOff x="0" y="0"/>
              <a:chExt cx="9654403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0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60139" y="5142986"/>
                <a:ext cx="11316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42346" y="1010693"/>
              <a:ext cx="2063130" cy="17407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Objetivos</a:t>
              </a:r>
              <a:r>
                <a:rPr lang="en-GB" sz="1600" dirty="0" smtClean="0">
                  <a:solidFill>
                    <a:srgbClr val="002060"/>
                  </a:solidFill>
                </a:rPr>
                <a:t> de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Negoci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" y="0"/>
            <a:ext cx="8591548" cy="6490010"/>
            <a:chOff x="1" y="0"/>
            <a:chExt cx="4865529" cy="6490010"/>
          </a:xfrm>
        </p:grpSpPr>
        <p:grpSp>
          <p:nvGrpSpPr>
            <p:cNvPr id="7" name="Group 6"/>
            <p:cNvGrpSpPr/>
            <p:nvPr/>
          </p:nvGrpSpPr>
          <p:grpSpPr>
            <a:xfrm>
              <a:off x="1" y="0"/>
              <a:ext cx="4865529" cy="6490010"/>
              <a:chOff x="1" y="0"/>
              <a:chExt cx="9709386" cy="649001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8" name="Rectangle 7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9" name="Isosceles Triangle 8"/>
              <p:cNvSpPr/>
              <p:nvPr/>
            </p:nvSpPr>
            <p:spPr bwMode="gray">
              <a:xfrm rot="5400000">
                <a:off x="8888335" y="4258951"/>
                <a:ext cx="1143623" cy="498480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 bwMode="gray">
            <a:xfrm rot="16200000">
              <a:off x="3383128" y="1023190"/>
              <a:ext cx="2063130" cy="14907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Desmpeño</a:t>
              </a:r>
              <a:r>
                <a:rPr lang="en-GB" sz="1600" dirty="0" smtClean="0">
                  <a:solidFill>
                    <a:srgbClr val="002060"/>
                  </a:solidFill>
                </a:rPr>
                <a:t>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Financier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-1" y="0"/>
            <a:ext cx="4091001" cy="6490010"/>
            <a:chOff x="1" y="0"/>
            <a:chExt cx="9991491" cy="649001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" name="Rectangle 10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Isosceles Triangle 11"/>
            <p:cNvSpPr/>
            <p:nvPr/>
          </p:nvSpPr>
          <p:spPr bwMode="gray">
            <a:xfrm rot="5400000">
              <a:off x="9043639" y="2854713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¿</a:t>
            </a:r>
            <a:r>
              <a:rPr lang="en-GB" dirty="0" err="1" smtClean="0">
                <a:solidFill>
                  <a:schemeClr val="bg1"/>
                </a:solidFill>
              </a:rPr>
              <a:t>Qué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vamos</a:t>
            </a:r>
            <a:r>
              <a:rPr lang="en-GB" dirty="0" smtClean="0">
                <a:solidFill>
                  <a:schemeClr val="bg1"/>
                </a:solidFill>
              </a:rPr>
              <a:t> a </a:t>
            </a:r>
            <a:r>
              <a:rPr lang="en-GB" dirty="0" err="1" smtClean="0">
                <a:solidFill>
                  <a:schemeClr val="bg1"/>
                </a:solidFill>
              </a:rPr>
              <a:t>hacer</a:t>
            </a:r>
            <a:r>
              <a:rPr lang="en-GB" dirty="0" smtClean="0">
                <a:solidFill>
                  <a:schemeClr val="bg1"/>
                </a:solidFill>
              </a:rPr>
              <a:t>?</a:t>
            </a:r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 bwMode="gray">
          <a:xfrm rot="16200000">
            <a:off x="2484052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Financier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Human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4C8EA786-B059-4CFC-A2CD-8A3A25D394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99774" y="931861"/>
            <a:ext cx="1532725" cy="1535919"/>
            <a:chOff x="3601" y="1920"/>
            <a:chExt cx="480" cy="481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5AB07216-A9C8-42A8-82D3-BEB12BC9D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1980"/>
              <a:ext cx="52" cy="39"/>
            </a:xfrm>
            <a:custGeom>
              <a:avLst/>
              <a:gdLst>
                <a:gd name="T0" fmla="*/ 52 w 52"/>
                <a:gd name="T1" fmla="*/ 19 h 39"/>
                <a:gd name="T2" fmla="*/ 10 w 52"/>
                <a:gd name="T3" fmla="*/ 0 h 39"/>
                <a:gd name="T4" fmla="*/ 0 w 52"/>
                <a:gd name="T5" fmla="*/ 19 h 39"/>
                <a:gd name="T6" fmla="*/ 42 w 52"/>
                <a:gd name="T7" fmla="*/ 39 h 39"/>
                <a:gd name="T8" fmla="*/ 52 w 52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9">
                  <a:moveTo>
                    <a:pt x="52" y="19"/>
                  </a:moveTo>
                  <a:lnTo>
                    <a:pt x="10" y="0"/>
                  </a:lnTo>
                  <a:lnTo>
                    <a:pt x="0" y="19"/>
                  </a:lnTo>
                  <a:lnTo>
                    <a:pt x="42" y="39"/>
                  </a:lnTo>
                  <a:lnTo>
                    <a:pt x="52" y="1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E6500146-B5E5-455B-9EED-DCBCB1A2B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1923"/>
              <a:ext cx="38" cy="51"/>
            </a:xfrm>
            <a:custGeom>
              <a:avLst/>
              <a:gdLst>
                <a:gd name="T0" fmla="*/ 38 w 38"/>
                <a:gd name="T1" fmla="*/ 9 h 51"/>
                <a:gd name="T2" fmla="*/ 19 w 38"/>
                <a:gd name="T3" fmla="*/ 0 h 51"/>
                <a:gd name="T4" fmla="*/ 0 w 38"/>
                <a:gd name="T5" fmla="*/ 43 h 51"/>
                <a:gd name="T6" fmla="*/ 19 w 38"/>
                <a:gd name="T7" fmla="*/ 51 h 51"/>
                <a:gd name="T8" fmla="*/ 38 w 38"/>
                <a:gd name="T9" fmla="*/ 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1">
                  <a:moveTo>
                    <a:pt x="38" y="9"/>
                  </a:moveTo>
                  <a:lnTo>
                    <a:pt x="19" y="0"/>
                  </a:lnTo>
                  <a:lnTo>
                    <a:pt x="0" y="43"/>
                  </a:lnTo>
                  <a:lnTo>
                    <a:pt x="19" y="51"/>
                  </a:lnTo>
                  <a:lnTo>
                    <a:pt x="38" y="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1E923D00-8FEB-41C9-8A1A-B17C775DA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920"/>
              <a:ext cx="36" cy="52"/>
            </a:xfrm>
            <a:custGeom>
              <a:avLst/>
              <a:gdLst>
                <a:gd name="T0" fmla="*/ 36 w 36"/>
                <a:gd name="T1" fmla="*/ 43 h 52"/>
                <a:gd name="T2" fmla="*/ 20 w 36"/>
                <a:gd name="T3" fmla="*/ 0 h 52"/>
                <a:gd name="T4" fmla="*/ 0 w 36"/>
                <a:gd name="T5" fmla="*/ 7 h 52"/>
                <a:gd name="T6" fmla="*/ 17 w 36"/>
                <a:gd name="T7" fmla="*/ 52 h 52"/>
                <a:gd name="T8" fmla="*/ 36 w 36"/>
                <a:gd name="T9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2">
                  <a:moveTo>
                    <a:pt x="36" y="43"/>
                  </a:moveTo>
                  <a:lnTo>
                    <a:pt x="20" y="0"/>
                  </a:lnTo>
                  <a:lnTo>
                    <a:pt x="0" y="7"/>
                  </a:lnTo>
                  <a:lnTo>
                    <a:pt x="17" y="52"/>
                  </a:lnTo>
                  <a:lnTo>
                    <a:pt x="36" y="4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68CB46E8-07BB-4BE8-9455-4B4EB5952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60"/>
              <a:ext cx="51" cy="36"/>
            </a:xfrm>
            <a:custGeom>
              <a:avLst/>
              <a:gdLst>
                <a:gd name="T0" fmla="*/ 43 w 51"/>
                <a:gd name="T1" fmla="*/ 0 h 36"/>
                <a:gd name="T2" fmla="*/ 0 w 51"/>
                <a:gd name="T3" fmla="*/ 16 h 36"/>
                <a:gd name="T4" fmla="*/ 7 w 51"/>
                <a:gd name="T5" fmla="*/ 36 h 36"/>
                <a:gd name="T6" fmla="*/ 51 w 51"/>
                <a:gd name="T7" fmla="*/ 20 h 36"/>
                <a:gd name="T8" fmla="*/ 43 w 51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6">
                  <a:moveTo>
                    <a:pt x="43" y="0"/>
                  </a:moveTo>
                  <a:lnTo>
                    <a:pt x="0" y="16"/>
                  </a:lnTo>
                  <a:lnTo>
                    <a:pt x="7" y="36"/>
                  </a:lnTo>
                  <a:lnTo>
                    <a:pt x="51" y="2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3FC9187F-013A-4EA6-BE29-7E4F9BC95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1980"/>
              <a:ext cx="108" cy="103"/>
            </a:xfrm>
            <a:custGeom>
              <a:avLst/>
              <a:gdLst>
                <a:gd name="T0" fmla="*/ 63 w 108"/>
                <a:gd name="T1" fmla="*/ 92 h 103"/>
                <a:gd name="T2" fmla="*/ 63 w 108"/>
                <a:gd name="T3" fmla="*/ 92 h 103"/>
                <a:gd name="T4" fmla="*/ 76 w 108"/>
                <a:gd name="T5" fmla="*/ 93 h 103"/>
                <a:gd name="T6" fmla="*/ 89 w 108"/>
                <a:gd name="T7" fmla="*/ 96 h 103"/>
                <a:gd name="T8" fmla="*/ 89 w 108"/>
                <a:gd name="T9" fmla="*/ 96 h 103"/>
                <a:gd name="T10" fmla="*/ 88 w 108"/>
                <a:gd name="T11" fmla="*/ 82 h 103"/>
                <a:gd name="T12" fmla="*/ 88 w 108"/>
                <a:gd name="T13" fmla="*/ 82 h 103"/>
                <a:gd name="T14" fmla="*/ 89 w 108"/>
                <a:gd name="T15" fmla="*/ 73 h 103"/>
                <a:gd name="T16" fmla="*/ 90 w 108"/>
                <a:gd name="T17" fmla="*/ 66 h 103"/>
                <a:gd name="T18" fmla="*/ 91 w 108"/>
                <a:gd name="T19" fmla="*/ 58 h 103"/>
                <a:gd name="T20" fmla="*/ 93 w 108"/>
                <a:gd name="T21" fmla="*/ 50 h 103"/>
                <a:gd name="T22" fmla="*/ 96 w 108"/>
                <a:gd name="T23" fmla="*/ 43 h 103"/>
                <a:gd name="T24" fmla="*/ 100 w 108"/>
                <a:gd name="T25" fmla="*/ 35 h 103"/>
                <a:gd name="T26" fmla="*/ 108 w 108"/>
                <a:gd name="T27" fmla="*/ 23 h 103"/>
                <a:gd name="T28" fmla="*/ 108 w 108"/>
                <a:gd name="T29" fmla="*/ 23 h 103"/>
                <a:gd name="T30" fmla="*/ 104 w 108"/>
                <a:gd name="T31" fmla="*/ 17 h 103"/>
                <a:gd name="T32" fmla="*/ 99 w 108"/>
                <a:gd name="T33" fmla="*/ 13 h 103"/>
                <a:gd name="T34" fmla="*/ 92 w 108"/>
                <a:gd name="T35" fmla="*/ 9 h 103"/>
                <a:gd name="T36" fmla="*/ 86 w 108"/>
                <a:gd name="T37" fmla="*/ 6 h 103"/>
                <a:gd name="T38" fmla="*/ 86 w 108"/>
                <a:gd name="T39" fmla="*/ 6 h 103"/>
                <a:gd name="T40" fmla="*/ 81 w 108"/>
                <a:gd name="T41" fmla="*/ 4 h 103"/>
                <a:gd name="T42" fmla="*/ 74 w 108"/>
                <a:gd name="T43" fmla="*/ 1 h 103"/>
                <a:gd name="T44" fmla="*/ 63 w 108"/>
                <a:gd name="T45" fmla="*/ 0 h 103"/>
                <a:gd name="T46" fmla="*/ 51 w 108"/>
                <a:gd name="T47" fmla="*/ 1 h 103"/>
                <a:gd name="T48" fmla="*/ 39 w 108"/>
                <a:gd name="T49" fmla="*/ 5 h 103"/>
                <a:gd name="T50" fmla="*/ 29 w 108"/>
                <a:gd name="T51" fmla="*/ 10 h 103"/>
                <a:gd name="T52" fmla="*/ 19 w 108"/>
                <a:gd name="T53" fmla="*/ 16 h 103"/>
                <a:gd name="T54" fmla="*/ 12 w 108"/>
                <a:gd name="T55" fmla="*/ 26 h 103"/>
                <a:gd name="T56" fmla="*/ 8 w 108"/>
                <a:gd name="T57" fmla="*/ 31 h 103"/>
                <a:gd name="T58" fmla="*/ 6 w 108"/>
                <a:gd name="T59" fmla="*/ 36 h 103"/>
                <a:gd name="T60" fmla="*/ 6 w 108"/>
                <a:gd name="T61" fmla="*/ 36 h 103"/>
                <a:gd name="T62" fmla="*/ 2 w 108"/>
                <a:gd name="T63" fmla="*/ 45 h 103"/>
                <a:gd name="T64" fmla="*/ 0 w 108"/>
                <a:gd name="T65" fmla="*/ 54 h 103"/>
                <a:gd name="T66" fmla="*/ 0 w 108"/>
                <a:gd name="T67" fmla="*/ 63 h 103"/>
                <a:gd name="T68" fmla="*/ 0 w 108"/>
                <a:gd name="T69" fmla="*/ 72 h 103"/>
                <a:gd name="T70" fmla="*/ 2 w 108"/>
                <a:gd name="T71" fmla="*/ 81 h 103"/>
                <a:gd name="T72" fmla="*/ 7 w 108"/>
                <a:gd name="T73" fmla="*/ 88 h 103"/>
                <a:gd name="T74" fmla="*/ 11 w 108"/>
                <a:gd name="T75" fmla="*/ 97 h 103"/>
                <a:gd name="T76" fmla="*/ 16 w 108"/>
                <a:gd name="T77" fmla="*/ 103 h 103"/>
                <a:gd name="T78" fmla="*/ 16 w 108"/>
                <a:gd name="T79" fmla="*/ 103 h 103"/>
                <a:gd name="T80" fmla="*/ 27 w 108"/>
                <a:gd name="T81" fmla="*/ 98 h 103"/>
                <a:gd name="T82" fmla="*/ 38 w 108"/>
                <a:gd name="T83" fmla="*/ 95 h 103"/>
                <a:gd name="T84" fmla="*/ 50 w 108"/>
                <a:gd name="T85" fmla="*/ 93 h 103"/>
                <a:gd name="T86" fmla="*/ 63 w 108"/>
                <a:gd name="T87" fmla="*/ 92 h 103"/>
                <a:gd name="T88" fmla="*/ 63 w 108"/>
                <a:gd name="T89" fmla="*/ 9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" h="103">
                  <a:moveTo>
                    <a:pt x="63" y="92"/>
                  </a:moveTo>
                  <a:lnTo>
                    <a:pt x="63" y="92"/>
                  </a:lnTo>
                  <a:lnTo>
                    <a:pt x="76" y="93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9" y="73"/>
                  </a:lnTo>
                  <a:lnTo>
                    <a:pt x="90" y="66"/>
                  </a:lnTo>
                  <a:lnTo>
                    <a:pt x="91" y="58"/>
                  </a:lnTo>
                  <a:lnTo>
                    <a:pt x="93" y="50"/>
                  </a:lnTo>
                  <a:lnTo>
                    <a:pt x="96" y="43"/>
                  </a:lnTo>
                  <a:lnTo>
                    <a:pt x="100" y="35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4" y="17"/>
                  </a:lnTo>
                  <a:lnTo>
                    <a:pt x="99" y="13"/>
                  </a:lnTo>
                  <a:lnTo>
                    <a:pt x="92" y="9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1" y="4"/>
                  </a:lnTo>
                  <a:lnTo>
                    <a:pt x="74" y="1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9" y="5"/>
                  </a:lnTo>
                  <a:lnTo>
                    <a:pt x="29" y="10"/>
                  </a:lnTo>
                  <a:lnTo>
                    <a:pt x="19" y="16"/>
                  </a:lnTo>
                  <a:lnTo>
                    <a:pt x="12" y="26"/>
                  </a:lnTo>
                  <a:lnTo>
                    <a:pt x="8" y="31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2" y="81"/>
                  </a:lnTo>
                  <a:lnTo>
                    <a:pt x="7" y="88"/>
                  </a:lnTo>
                  <a:lnTo>
                    <a:pt x="11" y="9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27" y="98"/>
                  </a:lnTo>
                  <a:lnTo>
                    <a:pt x="38" y="95"/>
                  </a:lnTo>
                  <a:lnTo>
                    <a:pt x="50" y="93"/>
                  </a:lnTo>
                  <a:lnTo>
                    <a:pt x="63" y="92"/>
                  </a:lnTo>
                  <a:lnTo>
                    <a:pt x="63" y="9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55686409-4623-4B9C-9D38-F1067783F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" y="1977"/>
              <a:ext cx="438" cy="209"/>
            </a:xfrm>
            <a:custGeom>
              <a:avLst/>
              <a:gdLst>
                <a:gd name="T0" fmla="*/ 378 w 438"/>
                <a:gd name="T1" fmla="*/ 127 h 209"/>
                <a:gd name="T2" fmla="*/ 364 w 438"/>
                <a:gd name="T3" fmla="*/ 120 h 209"/>
                <a:gd name="T4" fmla="*/ 368 w 438"/>
                <a:gd name="T5" fmla="*/ 98 h 209"/>
                <a:gd name="T6" fmla="*/ 364 w 438"/>
                <a:gd name="T7" fmla="*/ 76 h 209"/>
                <a:gd name="T8" fmla="*/ 345 w 438"/>
                <a:gd name="T9" fmla="*/ 53 h 209"/>
                <a:gd name="T10" fmla="*/ 315 w 438"/>
                <a:gd name="T11" fmla="*/ 45 h 209"/>
                <a:gd name="T12" fmla="*/ 302 w 438"/>
                <a:gd name="T13" fmla="*/ 46 h 209"/>
                <a:gd name="T14" fmla="*/ 283 w 438"/>
                <a:gd name="T15" fmla="*/ 55 h 209"/>
                <a:gd name="T16" fmla="*/ 274 w 438"/>
                <a:gd name="T17" fmla="*/ 38 h 209"/>
                <a:gd name="T18" fmla="*/ 249 w 438"/>
                <a:gd name="T19" fmla="*/ 13 h 209"/>
                <a:gd name="T20" fmla="*/ 216 w 438"/>
                <a:gd name="T21" fmla="*/ 1 h 209"/>
                <a:gd name="T22" fmla="*/ 195 w 438"/>
                <a:gd name="T23" fmla="*/ 0 h 209"/>
                <a:gd name="T24" fmla="*/ 171 w 438"/>
                <a:gd name="T25" fmla="*/ 7 h 209"/>
                <a:gd name="T26" fmla="*/ 149 w 438"/>
                <a:gd name="T27" fmla="*/ 19 h 209"/>
                <a:gd name="T28" fmla="*/ 134 w 438"/>
                <a:gd name="T29" fmla="*/ 37 h 209"/>
                <a:gd name="T30" fmla="*/ 123 w 438"/>
                <a:gd name="T31" fmla="*/ 60 h 209"/>
                <a:gd name="T32" fmla="*/ 119 w 438"/>
                <a:gd name="T33" fmla="*/ 85 h 209"/>
                <a:gd name="T34" fmla="*/ 122 w 438"/>
                <a:gd name="T35" fmla="*/ 106 h 209"/>
                <a:gd name="T36" fmla="*/ 113 w 438"/>
                <a:gd name="T37" fmla="*/ 114 h 209"/>
                <a:gd name="T38" fmla="*/ 89 w 438"/>
                <a:gd name="T39" fmla="*/ 107 h 209"/>
                <a:gd name="T40" fmla="*/ 72 w 438"/>
                <a:gd name="T41" fmla="*/ 107 h 209"/>
                <a:gd name="T42" fmla="*/ 50 w 438"/>
                <a:gd name="T43" fmla="*/ 114 h 209"/>
                <a:gd name="T44" fmla="*/ 30 w 438"/>
                <a:gd name="T45" fmla="*/ 124 h 209"/>
                <a:gd name="T46" fmla="*/ 14 w 438"/>
                <a:gd name="T47" fmla="*/ 140 h 209"/>
                <a:gd name="T48" fmla="*/ 5 w 438"/>
                <a:gd name="T49" fmla="*/ 159 h 209"/>
                <a:gd name="T50" fmla="*/ 0 w 438"/>
                <a:gd name="T51" fmla="*/ 181 h 209"/>
                <a:gd name="T52" fmla="*/ 2 w 438"/>
                <a:gd name="T53" fmla="*/ 195 h 209"/>
                <a:gd name="T54" fmla="*/ 92 w 438"/>
                <a:gd name="T55" fmla="*/ 209 h 209"/>
                <a:gd name="T56" fmla="*/ 102 w 438"/>
                <a:gd name="T57" fmla="*/ 190 h 209"/>
                <a:gd name="T58" fmla="*/ 122 w 438"/>
                <a:gd name="T59" fmla="*/ 163 h 209"/>
                <a:gd name="T60" fmla="*/ 148 w 438"/>
                <a:gd name="T61" fmla="*/ 142 h 209"/>
                <a:gd name="T62" fmla="*/ 171 w 438"/>
                <a:gd name="T63" fmla="*/ 132 h 209"/>
                <a:gd name="T64" fmla="*/ 184 w 438"/>
                <a:gd name="T65" fmla="*/ 127 h 209"/>
                <a:gd name="T66" fmla="*/ 216 w 438"/>
                <a:gd name="T67" fmla="*/ 126 h 209"/>
                <a:gd name="T68" fmla="*/ 221 w 438"/>
                <a:gd name="T69" fmla="*/ 128 h 209"/>
                <a:gd name="T70" fmla="*/ 217 w 438"/>
                <a:gd name="T71" fmla="*/ 133 h 209"/>
                <a:gd name="T72" fmla="*/ 254 w 438"/>
                <a:gd name="T73" fmla="*/ 127 h 209"/>
                <a:gd name="T74" fmla="*/ 291 w 438"/>
                <a:gd name="T75" fmla="*/ 133 h 209"/>
                <a:gd name="T76" fmla="*/ 314 w 438"/>
                <a:gd name="T77" fmla="*/ 143 h 209"/>
                <a:gd name="T78" fmla="*/ 335 w 438"/>
                <a:gd name="T79" fmla="*/ 156 h 209"/>
                <a:gd name="T80" fmla="*/ 354 w 438"/>
                <a:gd name="T81" fmla="*/ 177 h 209"/>
                <a:gd name="T82" fmla="*/ 363 w 438"/>
                <a:gd name="T83" fmla="*/ 192 h 209"/>
                <a:gd name="T84" fmla="*/ 364 w 438"/>
                <a:gd name="T85" fmla="*/ 197 h 209"/>
                <a:gd name="T86" fmla="*/ 358 w 438"/>
                <a:gd name="T87" fmla="*/ 196 h 209"/>
                <a:gd name="T88" fmla="*/ 428 w 438"/>
                <a:gd name="T89" fmla="*/ 209 h 209"/>
                <a:gd name="T90" fmla="*/ 437 w 438"/>
                <a:gd name="T91" fmla="*/ 188 h 209"/>
                <a:gd name="T92" fmla="*/ 437 w 438"/>
                <a:gd name="T93" fmla="*/ 170 h 209"/>
                <a:gd name="T94" fmla="*/ 422 w 438"/>
                <a:gd name="T95" fmla="*/ 142 h 209"/>
                <a:gd name="T96" fmla="*/ 395 w 438"/>
                <a:gd name="T97" fmla="*/ 12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8" h="209">
                  <a:moveTo>
                    <a:pt x="384" y="126"/>
                  </a:moveTo>
                  <a:lnTo>
                    <a:pt x="384" y="126"/>
                  </a:lnTo>
                  <a:lnTo>
                    <a:pt x="378" y="127"/>
                  </a:lnTo>
                  <a:lnTo>
                    <a:pt x="371" y="128"/>
                  </a:lnTo>
                  <a:lnTo>
                    <a:pt x="359" y="132"/>
                  </a:lnTo>
                  <a:lnTo>
                    <a:pt x="364" y="120"/>
                  </a:lnTo>
                  <a:lnTo>
                    <a:pt x="364" y="120"/>
                  </a:lnTo>
                  <a:lnTo>
                    <a:pt x="367" y="109"/>
                  </a:lnTo>
                  <a:lnTo>
                    <a:pt x="368" y="98"/>
                  </a:lnTo>
                  <a:lnTo>
                    <a:pt x="368" y="98"/>
                  </a:lnTo>
                  <a:lnTo>
                    <a:pt x="367" y="87"/>
                  </a:lnTo>
                  <a:lnTo>
                    <a:pt x="364" y="76"/>
                  </a:lnTo>
                  <a:lnTo>
                    <a:pt x="359" y="68"/>
                  </a:lnTo>
                  <a:lnTo>
                    <a:pt x="352" y="60"/>
                  </a:lnTo>
                  <a:lnTo>
                    <a:pt x="345" y="53"/>
                  </a:lnTo>
                  <a:lnTo>
                    <a:pt x="335" y="49"/>
                  </a:lnTo>
                  <a:lnTo>
                    <a:pt x="326" y="46"/>
                  </a:lnTo>
                  <a:lnTo>
                    <a:pt x="315" y="45"/>
                  </a:lnTo>
                  <a:lnTo>
                    <a:pt x="315" y="45"/>
                  </a:lnTo>
                  <a:lnTo>
                    <a:pt x="308" y="45"/>
                  </a:lnTo>
                  <a:lnTo>
                    <a:pt x="302" y="46"/>
                  </a:lnTo>
                  <a:lnTo>
                    <a:pt x="295" y="48"/>
                  </a:lnTo>
                  <a:lnTo>
                    <a:pt x="289" y="51"/>
                  </a:lnTo>
                  <a:lnTo>
                    <a:pt x="283" y="55"/>
                  </a:lnTo>
                  <a:lnTo>
                    <a:pt x="279" y="49"/>
                  </a:lnTo>
                  <a:lnTo>
                    <a:pt x="279" y="49"/>
                  </a:lnTo>
                  <a:lnTo>
                    <a:pt x="274" y="38"/>
                  </a:lnTo>
                  <a:lnTo>
                    <a:pt x="267" y="29"/>
                  </a:lnTo>
                  <a:lnTo>
                    <a:pt x="258" y="20"/>
                  </a:lnTo>
                  <a:lnTo>
                    <a:pt x="249" y="13"/>
                  </a:lnTo>
                  <a:lnTo>
                    <a:pt x="238" y="8"/>
                  </a:lnTo>
                  <a:lnTo>
                    <a:pt x="227" y="3"/>
                  </a:lnTo>
                  <a:lnTo>
                    <a:pt x="216" y="1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195" y="0"/>
                  </a:lnTo>
                  <a:lnTo>
                    <a:pt x="186" y="2"/>
                  </a:lnTo>
                  <a:lnTo>
                    <a:pt x="178" y="4"/>
                  </a:lnTo>
                  <a:lnTo>
                    <a:pt x="171" y="7"/>
                  </a:lnTo>
                  <a:lnTo>
                    <a:pt x="163" y="11"/>
                  </a:lnTo>
                  <a:lnTo>
                    <a:pt x="157" y="15"/>
                  </a:lnTo>
                  <a:lnTo>
                    <a:pt x="149" y="19"/>
                  </a:lnTo>
                  <a:lnTo>
                    <a:pt x="144" y="25"/>
                  </a:lnTo>
                  <a:lnTo>
                    <a:pt x="139" y="31"/>
                  </a:lnTo>
                  <a:lnTo>
                    <a:pt x="134" y="37"/>
                  </a:lnTo>
                  <a:lnTo>
                    <a:pt x="129" y="45"/>
                  </a:lnTo>
                  <a:lnTo>
                    <a:pt x="126" y="52"/>
                  </a:lnTo>
                  <a:lnTo>
                    <a:pt x="123" y="60"/>
                  </a:lnTo>
                  <a:lnTo>
                    <a:pt x="121" y="68"/>
                  </a:lnTo>
                  <a:lnTo>
                    <a:pt x="120" y="76"/>
                  </a:lnTo>
                  <a:lnTo>
                    <a:pt x="119" y="85"/>
                  </a:lnTo>
                  <a:lnTo>
                    <a:pt x="119" y="85"/>
                  </a:lnTo>
                  <a:lnTo>
                    <a:pt x="120" y="96"/>
                  </a:lnTo>
                  <a:lnTo>
                    <a:pt x="122" y="106"/>
                  </a:lnTo>
                  <a:lnTo>
                    <a:pt x="125" y="119"/>
                  </a:lnTo>
                  <a:lnTo>
                    <a:pt x="113" y="114"/>
                  </a:lnTo>
                  <a:lnTo>
                    <a:pt x="113" y="114"/>
                  </a:lnTo>
                  <a:lnTo>
                    <a:pt x="105" y="110"/>
                  </a:lnTo>
                  <a:lnTo>
                    <a:pt x="98" y="109"/>
                  </a:lnTo>
                  <a:lnTo>
                    <a:pt x="89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72" y="107"/>
                  </a:lnTo>
                  <a:lnTo>
                    <a:pt x="65" y="109"/>
                  </a:lnTo>
                  <a:lnTo>
                    <a:pt x="57" y="110"/>
                  </a:lnTo>
                  <a:lnTo>
                    <a:pt x="50" y="114"/>
                  </a:lnTo>
                  <a:lnTo>
                    <a:pt x="43" y="116"/>
                  </a:lnTo>
                  <a:lnTo>
                    <a:pt x="36" y="120"/>
                  </a:lnTo>
                  <a:lnTo>
                    <a:pt x="30" y="124"/>
                  </a:lnTo>
                  <a:lnTo>
                    <a:pt x="25" y="128"/>
                  </a:lnTo>
                  <a:lnTo>
                    <a:pt x="19" y="134"/>
                  </a:lnTo>
                  <a:lnTo>
                    <a:pt x="14" y="140"/>
                  </a:lnTo>
                  <a:lnTo>
                    <a:pt x="10" y="145"/>
                  </a:lnTo>
                  <a:lnTo>
                    <a:pt x="7" y="153"/>
                  </a:lnTo>
                  <a:lnTo>
                    <a:pt x="5" y="159"/>
                  </a:lnTo>
                  <a:lnTo>
                    <a:pt x="2" y="167"/>
                  </a:lnTo>
                  <a:lnTo>
                    <a:pt x="1" y="1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1" y="189"/>
                  </a:lnTo>
                  <a:lnTo>
                    <a:pt x="2" y="195"/>
                  </a:lnTo>
                  <a:lnTo>
                    <a:pt x="5" y="203"/>
                  </a:lnTo>
                  <a:lnTo>
                    <a:pt x="7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7" y="199"/>
                  </a:lnTo>
                  <a:lnTo>
                    <a:pt x="102" y="190"/>
                  </a:lnTo>
                  <a:lnTo>
                    <a:pt x="107" y="180"/>
                  </a:lnTo>
                  <a:lnTo>
                    <a:pt x="114" y="171"/>
                  </a:lnTo>
                  <a:lnTo>
                    <a:pt x="122" y="163"/>
                  </a:lnTo>
                  <a:lnTo>
                    <a:pt x="129" y="155"/>
                  </a:lnTo>
                  <a:lnTo>
                    <a:pt x="139" y="149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59" y="136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5" y="131"/>
                  </a:lnTo>
                  <a:lnTo>
                    <a:pt x="184" y="127"/>
                  </a:lnTo>
                  <a:lnTo>
                    <a:pt x="199" y="125"/>
                  </a:lnTo>
                  <a:lnTo>
                    <a:pt x="208" y="125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20" y="127"/>
                  </a:lnTo>
                  <a:lnTo>
                    <a:pt x="221" y="128"/>
                  </a:lnTo>
                  <a:lnTo>
                    <a:pt x="220" y="131"/>
                  </a:lnTo>
                  <a:lnTo>
                    <a:pt x="217" y="133"/>
                  </a:lnTo>
                  <a:lnTo>
                    <a:pt x="217" y="133"/>
                  </a:lnTo>
                  <a:lnTo>
                    <a:pt x="230" y="131"/>
                  </a:lnTo>
                  <a:lnTo>
                    <a:pt x="241" y="128"/>
                  </a:lnTo>
                  <a:lnTo>
                    <a:pt x="254" y="127"/>
                  </a:lnTo>
                  <a:lnTo>
                    <a:pt x="266" y="128"/>
                  </a:lnTo>
                  <a:lnTo>
                    <a:pt x="278" y="131"/>
                  </a:lnTo>
                  <a:lnTo>
                    <a:pt x="291" y="133"/>
                  </a:lnTo>
                  <a:lnTo>
                    <a:pt x="303" y="137"/>
                  </a:lnTo>
                  <a:lnTo>
                    <a:pt x="314" y="143"/>
                  </a:lnTo>
                  <a:lnTo>
                    <a:pt x="314" y="143"/>
                  </a:lnTo>
                  <a:lnTo>
                    <a:pt x="325" y="149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9" y="158"/>
                  </a:lnTo>
                  <a:lnTo>
                    <a:pt x="346" y="165"/>
                  </a:lnTo>
                  <a:lnTo>
                    <a:pt x="354" y="177"/>
                  </a:lnTo>
                  <a:lnTo>
                    <a:pt x="360" y="184"/>
                  </a:lnTo>
                  <a:lnTo>
                    <a:pt x="363" y="192"/>
                  </a:lnTo>
                  <a:lnTo>
                    <a:pt x="363" y="192"/>
                  </a:lnTo>
                  <a:lnTo>
                    <a:pt x="365" y="196"/>
                  </a:lnTo>
                  <a:lnTo>
                    <a:pt x="365" y="197"/>
                  </a:lnTo>
                  <a:lnTo>
                    <a:pt x="364" y="197"/>
                  </a:lnTo>
                  <a:lnTo>
                    <a:pt x="361" y="197"/>
                  </a:lnTo>
                  <a:lnTo>
                    <a:pt x="358" y="196"/>
                  </a:lnTo>
                  <a:lnTo>
                    <a:pt x="358" y="196"/>
                  </a:lnTo>
                  <a:lnTo>
                    <a:pt x="369" y="209"/>
                  </a:lnTo>
                  <a:lnTo>
                    <a:pt x="428" y="209"/>
                  </a:lnTo>
                  <a:lnTo>
                    <a:pt x="428" y="209"/>
                  </a:lnTo>
                  <a:lnTo>
                    <a:pt x="433" y="203"/>
                  </a:lnTo>
                  <a:lnTo>
                    <a:pt x="435" y="195"/>
                  </a:lnTo>
                  <a:lnTo>
                    <a:pt x="437" y="188"/>
                  </a:lnTo>
                  <a:lnTo>
                    <a:pt x="438" y="180"/>
                  </a:lnTo>
                  <a:lnTo>
                    <a:pt x="438" y="180"/>
                  </a:lnTo>
                  <a:lnTo>
                    <a:pt x="437" y="170"/>
                  </a:lnTo>
                  <a:lnTo>
                    <a:pt x="434" y="159"/>
                  </a:lnTo>
                  <a:lnTo>
                    <a:pt x="428" y="150"/>
                  </a:lnTo>
                  <a:lnTo>
                    <a:pt x="422" y="142"/>
                  </a:lnTo>
                  <a:lnTo>
                    <a:pt x="414" y="136"/>
                  </a:lnTo>
                  <a:lnTo>
                    <a:pt x="405" y="131"/>
                  </a:lnTo>
                  <a:lnTo>
                    <a:pt x="395" y="127"/>
                  </a:lnTo>
                  <a:lnTo>
                    <a:pt x="384" y="126"/>
                  </a:lnTo>
                  <a:lnTo>
                    <a:pt x="384" y="126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C4FA84A6-23AC-4910-AD9F-0C49A8D4AE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8" y="2118"/>
              <a:ext cx="298" cy="283"/>
            </a:xfrm>
            <a:custGeom>
              <a:avLst/>
              <a:gdLst>
                <a:gd name="T0" fmla="*/ 289 w 298"/>
                <a:gd name="T1" fmla="*/ 97 h 283"/>
                <a:gd name="T2" fmla="*/ 245 w 298"/>
                <a:gd name="T3" fmla="*/ 43 h 283"/>
                <a:gd name="T4" fmla="*/ 177 w 298"/>
                <a:gd name="T5" fmla="*/ 22 h 283"/>
                <a:gd name="T6" fmla="*/ 130 w 298"/>
                <a:gd name="T7" fmla="*/ 32 h 283"/>
                <a:gd name="T8" fmla="*/ 120 w 298"/>
                <a:gd name="T9" fmla="*/ 34 h 283"/>
                <a:gd name="T10" fmla="*/ 173 w 298"/>
                <a:gd name="T11" fmla="*/ 14 h 283"/>
                <a:gd name="T12" fmla="*/ 230 w 298"/>
                <a:gd name="T13" fmla="*/ 21 h 283"/>
                <a:gd name="T14" fmla="*/ 231 w 298"/>
                <a:gd name="T15" fmla="*/ 17 h 283"/>
                <a:gd name="T16" fmla="*/ 174 w 298"/>
                <a:gd name="T17" fmla="*/ 0 h 283"/>
                <a:gd name="T18" fmla="*/ 108 w 298"/>
                <a:gd name="T19" fmla="*/ 17 h 283"/>
                <a:gd name="T20" fmla="*/ 65 w 298"/>
                <a:gd name="T21" fmla="*/ 59 h 283"/>
                <a:gd name="T22" fmla="*/ 51 w 298"/>
                <a:gd name="T23" fmla="*/ 142 h 283"/>
                <a:gd name="T24" fmla="*/ 52 w 298"/>
                <a:gd name="T25" fmla="*/ 164 h 283"/>
                <a:gd name="T26" fmla="*/ 35 w 298"/>
                <a:gd name="T27" fmla="*/ 109 h 283"/>
                <a:gd name="T28" fmla="*/ 52 w 298"/>
                <a:gd name="T29" fmla="*/ 44 h 283"/>
                <a:gd name="T30" fmla="*/ 93 w 298"/>
                <a:gd name="T31" fmla="*/ 2 h 283"/>
                <a:gd name="T32" fmla="*/ 74 w 298"/>
                <a:gd name="T33" fmla="*/ 11 h 283"/>
                <a:gd name="T34" fmla="*/ 32 w 298"/>
                <a:gd name="T35" fmla="*/ 53 h 283"/>
                <a:gd name="T36" fmla="*/ 15 w 298"/>
                <a:gd name="T37" fmla="*/ 120 h 283"/>
                <a:gd name="T38" fmla="*/ 32 w 298"/>
                <a:gd name="T39" fmla="*/ 177 h 283"/>
                <a:gd name="T40" fmla="*/ 107 w 298"/>
                <a:gd name="T41" fmla="*/ 232 h 283"/>
                <a:gd name="T42" fmla="*/ 109 w 298"/>
                <a:gd name="T43" fmla="*/ 236 h 283"/>
                <a:gd name="T44" fmla="*/ 45 w 298"/>
                <a:gd name="T45" fmla="*/ 210 h 283"/>
                <a:gd name="T46" fmla="*/ 7 w 298"/>
                <a:gd name="T47" fmla="*/ 154 h 283"/>
                <a:gd name="T48" fmla="*/ 2 w 298"/>
                <a:gd name="T49" fmla="*/ 118 h 283"/>
                <a:gd name="T50" fmla="*/ 5 w 298"/>
                <a:gd name="T51" fmla="*/ 176 h 283"/>
                <a:gd name="T52" fmla="*/ 44 w 298"/>
                <a:gd name="T53" fmla="*/ 233 h 283"/>
                <a:gd name="T54" fmla="*/ 108 w 298"/>
                <a:gd name="T55" fmla="*/ 260 h 283"/>
                <a:gd name="T56" fmla="*/ 158 w 298"/>
                <a:gd name="T57" fmla="*/ 254 h 283"/>
                <a:gd name="T58" fmla="*/ 185 w 298"/>
                <a:gd name="T59" fmla="*/ 244 h 283"/>
                <a:gd name="T60" fmla="*/ 134 w 298"/>
                <a:gd name="T61" fmla="*/ 267 h 283"/>
                <a:gd name="T62" fmla="*/ 77 w 298"/>
                <a:gd name="T63" fmla="*/ 265 h 283"/>
                <a:gd name="T64" fmla="*/ 49 w 298"/>
                <a:gd name="T65" fmla="*/ 252 h 283"/>
                <a:gd name="T66" fmla="*/ 100 w 298"/>
                <a:gd name="T67" fmla="*/ 280 h 283"/>
                <a:gd name="T68" fmla="*/ 169 w 298"/>
                <a:gd name="T69" fmla="*/ 276 h 283"/>
                <a:gd name="T70" fmla="*/ 225 w 298"/>
                <a:gd name="T71" fmla="*/ 234 h 283"/>
                <a:gd name="T72" fmla="*/ 248 w 298"/>
                <a:gd name="T73" fmla="*/ 175 h 283"/>
                <a:gd name="T74" fmla="*/ 228 w 298"/>
                <a:gd name="T75" fmla="*/ 94 h 283"/>
                <a:gd name="T76" fmla="*/ 260 w 298"/>
                <a:gd name="T77" fmla="*/ 152 h 283"/>
                <a:gd name="T78" fmla="*/ 256 w 298"/>
                <a:gd name="T79" fmla="*/ 219 h 283"/>
                <a:gd name="T80" fmla="*/ 214 w 298"/>
                <a:gd name="T81" fmla="*/ 275 h 283"/>
                <a:gd name="T82" fmla="*/ 224 w 298"/>
                <a:gd name="T83" fmla="*/ 271 h 283"/>
                <a:gd name="T84" fmla="*/ 266 w 298"/>
                <a:gd name="T85" fmla="*/ 230 h 283"/>
                <a:gd name="T86" fmla="*/ 283 w 298"/>
                <a:gd name="T87" fmla="*/ 163 h 283"/>
                <a:gd name="T88" fmla="*/ 266 w 298"/>
                <a:gd name="T89" fmla="*/ 106 h 283"/>
                <a:gd name="T90" fmla="*/ 191 w 298"/>
                <a:gd name="T91" fmla="*/ 50 h 283"/>
                <a:gd name="T92" fmla="*/ 189 w 298"/>
                <a:gd name="T93" fmla="*/ 46 h 283"/>
                <a:gd name="T94" fmla="*/ 253 w 298"/>
                <a:gd name="T95" fmla="*/ 73 h 283"/>
                <a:gd name="T96" fmla="*/ 291 w 298"/>
                <a:gd name="T97" fmla="*/ 129 h 283"/>
                <a:gd name="T98" fmla="*/ 296 w 298"/>
                <a:gd name="T99" fmla="*/ 165 h 283"/>
                <a:gd name="T100" fmla="*/ 170 w 298"/>
                <a:gd name="T101" fmla="*/ 146 h 283"/>
                <a:gd name="T102" fmla="*/ 153 w 298"/>
                <a:gd name="T103" fmla="*/ 163 h 283"/>
                <a:gd name="T104" fmla="*/ 134 w 298"/>
                <a:gd name="T105" fmla="*/ 158 h 283"/>
                <a:gd name="T106" fmla="*/ 128 w 298"/>
                <a:gd name="T107" fmla="*/ 138 h 283"/>
                <a:gd name="T108" fmla="*/ 145 w 298"/>
                <a:gd name="T109" fmla="*/ 121 h 283"/>
                <a:gd name="T110" fmla="*/ 165 w 298"/>
                <a:gd name="T111" fmla="*/ 126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8" h="283">
                  <a:moveTo>
                    <a:pt x="298" y="143"/>
                  </a:moveTo>
                  <a:lnTo>
                    <a:pt x="298" y="143"/>
                  </a:lnTo>
                  <a:lnTo>
                    <a:pt x="297" y="130"/>
                  </a:lnTo>
                  <a:lnTo>
                    <a:pt x="296" y="119"/>
                  </a:lnTo>
                  <a:lnTo>
                    <a:pt x="293" y="107"/>
                  </a:lnTo>
                  <a:lnTo>
                    <a:pt x="289" y="97"/>
                  </a:lnTo>
                  <a:lnTo>
                    <a:pt x="283" y="86"/>
                  </a:lnTo>
                  <a:lnTo>
                    <a:pt x="278" y="75"/>
                  </a:lnTo>
                  <a:lnTo>
                    <a:pt x="271" y="67"/>
                  </a:lnTo>
                  <a:lnTo>
                    <a:pt x="263" y="57"/>
                  </a:lnTo>
                  <a:lnTo>
                    <a:pt x="255" y="50"/>
                  </a:lnTo>
                  <a:lnTo>
                    <a:pt x="245" y="43"/>
                  </a:lnTo>
                  <a:lnTo>
                    <a:pt x="235" y="37"/>
                  </a:lnTo>
                  <a:lnTo>
                    <a:pt x="224" y="32"/>
                  </a:lnTo>
                  <a:lnTo>
                    <a:pt x="213" y="28"/>
                  </a:lnTo>
                  <a:lnTo>
                    <a:pt x="202" y="24"/>
                  </a:lnTo>
                  <a:lnTo>
                    <a:pt x="190" y="23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67" y="22"/>
                  </a:lnTo>
                  <a:lnTo>
                    <a:pt x="157" y="24"/>
                  </a:lnTo>
                  <a:lnTo>
                    <a:pt x="148" y="26"/>
                  </a:lnTo>
                  <a:lnTo>
                    <a:pt x="139" y="29"/>
                  </a:lnTo>
                  <a:lnTo>
                    <a:pt x="130" y="32"/>
                  </a:lnTo>
                  <a:lnTo>
                    <a:pt x="121" y="36"/>
                  </a:lnTo>
                  <a:lnTo>
                    <a:pt x="113" y="40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13" y="39"/>
                  </a:lnTo>
                  <a:lnTo>
                    <a:pt x="120" y="34"/>
                  </a:lnTo>
                  <a:lnTo>
                    <a:pt x="129" y="29"/>
                  </a:lnTo>
                  <a:lnTo>
                    <a:pt x="137" y="24"/>
                  </a:lnTo>
                  <a:lnTo>
                    <a:pt x="146" y="20"/>
                  </a:lnTo>
                  <a:lnTo>
                    <a:pt x="155" y="18"/>
                  </a:lnTo>
                  <a:lnTo>
                    <a:pt x="164" y="15"/>
                  </a:lnTo>
                  <a:lnTo>
                    <a:pt x="173" y="14"/>
                  </a:lnTo>
                  <a:lnTo>
                    <a:pt x="183" y="13"/>
                  </a:lnTo>
                  <a:lnTo>
                    <a:pt x="192" y="13"/>
                  </a:lnTo>
                  <a:lnTo>
                    <a:pt x="202" y="14"/>
                  </a:lnTo>
                  <a:lnTo>
                    <a:pt x="211" y="15"/>
                  </a:lnTo>
                  <a:lnTo>
                    <a:pt x="221" y="18"/>
                  </a:lnTo>
                  <a:lnTo>
                    <a:pt x="230" y="21"/>
                  </a:lnTo>
                  <a:lnTo>
                    <a:pt x="240" y="24"/>
                  </a:lnTo>
                  <a:lnTo>
                    <a:pt x="248" y="30"/>
                  </a:lnTo>
                  <a:lnTo>
                    <a:pt x="249" y="30"/>
                  </a:lnTo>
                  <a:lnTo>
                    <a:pt x="249" y="30"/>
                  </a:lnTo>
                  <a:lnTo>
                    <a:pt x="243" y="26"/>
                  </a:lnTo>
                  <a:lnTo>
                    <a:pt x="231" y="17"/>
                  </a:lnTo>
                  <a:lnTo>
                    <a:pt x="231" y="17"/>
                  </a:lnTo>
                  <a:lnTo>
                    <a:pt x="220" y="12"/>
                  </a:lnTo>
                  <a:lnTo>
                    <a:pt x="209" y="6"/>
                  </a:lnTo>
                  <a:lnTo>
                    <a:pt x="198" y="3"/>
                  </a:lnTo>
                  <a:lnTo>
                    <a:pt x="186" y="1"/>
                  </a:lnTo>
                  <a:lnTo>
                    <a:pt x="174" y="0"/>
                  </a:lnTo>
                  <a:lnTo>
                    <a:pt x="163" y="0"/>
                  </a:lnTo>
                  <a:lnTo>
                    <a:pt x="151" y="1"/>
                  </a:lnTo>
                  <a:lnTo>
                    <a:pt x="139" y="4"/>
                  </a:lnTo>
                  <a:lnTo>
                    <a:pt x="129" y="8"/>
                  </a:lnTo>
                  <a:lnTo>
                    <a:pt x="118" y="12"/>
                  </a:lnTo>
                  <a:lnTo>
                    <a:pt x="108" y="17"/>
                  </a:lnTo>
                  <a:lnTo>
                    <a:pt x="98" y="23"/>
                  </a:lnTo>
                  <a:lnTo>
                    <a:pt x="89" y="31"/>
                  </a:lnTo>
                  <a:lnTo>
                    <a:pt x="80" y="39"/>
                  </a:lnTo>
                  <a:lnTo>
                    <a:pt x="73" y="4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1" y="67"/>
                  </a:lnTo>
                  <a:lnTo>
                    <a:pt x="58" y="75"/>
                  </a:lnTo>
                  <a:lnTo>
                    <a:pt x="53" y="91"/>
                  </a:lnTo>
                  <a:lnTo>
                    <a:pt x="50" y="108"/>
                  </a:lnTo>
                  <a:lnTo>
                    <a:pt x="50" y="125"/>
                  </a:lnTo>
                  <a:lnTo>
                    <a:pt x="51" y="142"/>
                  </a:lnTo>
                  <a:lnTo>
                    <a:pt x="55" y="158"/>
                  </a:lnTo>
                  <a:lnTo>
                    <a:pt x="61" y="174"/>
                  </a:lnTo>
                  <a:lnTo>
                    <a:pt x="70" y="188"/>
                  </a:lnTo>
                  <a:lnTo>
                    <a:pt x="70" y="188"/>
                  </a:lnTo>
                  <a:lnTo>
                    <a:pt x="60" y="177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5" y="154"/>
                  </a:lnTo>
                  <a:lnTo>
                    <a:pt x="41" y="143"/>
                  </a:lnTo>
                  <a:lnTo>
                    <a:pt x="38" y="131"/>
                  </a:lnTo>
                  <a:lnTo>
                    <a:pt x="36" y="120"/>
                  </a:lnTo>
                  <a:lnTo>
                    <a:pt x="35" y="109"/>
                  </a:lnTo>
                  <a:lnTo>
                    <a:pt x="35" y="98"/>
                  </a:lnTo>
                  <a:lnTo>
                    <a:pt x="36" y="86"/>
                  </a:lnTo>
                  <a:lnTo>
                    <a:pt x="39" y="74"/>
                  </a:lnTo>
                  <a:lnTo>
                    <a:pt x="42" y="64"/>
                  </a:lnTo>
                  <a:lnTo>
                    <a:pt x="46" y="53"/>
                  </a:lnTo>
                  <a:lnTo>
                    <a:pt x="52" y="44"/>
                  </a:lnTo>
                  <a:lnTo>
                    <a:pt x="58" y="34"/>
                  </a:lnTo>
                  <a:lnTo>
                    <a:pt x="65" y="24"/>
                  </a:lnTo>
                  <a:lnTo>
                    <a:pt x="74" y="16"/>
                  </a:lnTo>
                  <a:lnTo>
                    <a:pt x="83" y="9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83" y="5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63" y="18"/>
                  </a:lnTo>
                  <a:lnTo>
                    <a:pt x="54" y="26"/>
                  </a:lnTo>
                  <a:lnTo>
                    <a:pt x="45" y="34"/>
                  </a:lnTo>
                  <a:lnTo>
                    <a:pt x="38" y="44"/>
                  </a:lnTo>
                  <a:lnTo>
                    <a:pt x="32" y="53"/>
                  </a:lnTo>
                  <a:lnTo>
                    <a:pt x="26" y="64"/>
                  </a:lnTo>
                  <a:lnTo>
                    <a:pt x="22" y="74"/>
                  </a:lnTo>
                  <a:lnTo>
                    <a:pt x="19" y="85"/>
                  </a:lnTo>
                  <a:lnTo>
                    <a:pt x="16" y="97"/>
                  </a:lnTo>
                  <a:lnTo>
                    <a:pt x="15" y="108"/>
                  </a:lnTo>
                  <a:lnTo>
                    <a:pt x="15" y="120"/>
                  </a:lnTo>
                  <a:lnTo>
                    <a:pt x="16" y="131"/>
                  </a:lnTo>
                  <a:lnTo>
                    <a:pt x="18" y="143"/>
                  </a:lnTo>
                  <a:lnTo>
                    <a:pt x="21" y="155"/>
                  </a:lnTo>
                  <a:lnTo>
                    <a:pt x="25" y="165"/>
                  </a:lnTo>
                  <a:lnTo>
                    <a:pt x="32" y="177"/>
                  </a:lnTo>
                  <a:lnTo>
                    <a:pt x="32" y="177"/>
                  </a:lnTo>
                  <a:lnTo>
                    <a:pt x="41" y="191"/>
                  </a:lnTo>
                  <a:lnTo>
                    <a:pt x="52" y="202"/>
                  </a:lnTo>
                  <a:lnTo>
                    <a:pt x="64" y="213"/>
                  </a:lnTo>
                  <a:lnTo>
                    <a:pt x="77" y="222"/>
                  </a:lnTo>
                  <a:lnTo>
                    <a:pt x="92" y="228"/>
                  </a:lnTo>
                  <a:lnTo>
                    <a:pt x="107" y="232"/>
                  </a:lnTo>
                  <a:lnTo>
                    <a:pt x="121" y="235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20" y="237"/>
                  </a:lnTo>
                  <a:lnTo>
                    <a:pt x="120" y="237"/>
                  </a:lnTo>
                  <a:lnTo>
                    <a:pt x="109" y="236"/>
                  </a:lnTo>
                  <a:lnTo>
                    <a:pt x="97" y="235"/>
                  </a:lnTo>
                  <a:lnTo>
                    <a:pt x="86" y="232"/>
                  </a:lnTo>
                  <a:lnTo>
                    <a:pt x="74" y="228"/>
                  </a:lnTo>
                  <a:lnTo>
                    <a:pt x="64" y="223"/>
                  </a:lnTo>
                  <a:lnTo>
                    <a:pt x="54" y="217"/>
                  </a:lnTo>
                  <a:lnTo>
                    <a:pt x="45" y="210"/>
                  </a:lnTo>
                  <a:lnTo>
                    <a:pt x="37" y="202"/>
                  </a:lnTo>
                  <a:lnTo>
                    <a:pt x="29" y="194"/>
                  </a:lnTo>
                  <a:lnTo>
                    <a:pt x="22" y="184"/>
                  </a:lnTo>
                  <a:lnTo>
                    <a:pt x="16" y="175"/>
                  </a:lnTo>
                  <a:lnTo>
                    <a:pt x="12" y="164"/>
                  </a:lnTo>
                  <a:lnTo>
                    <a:pt x="7" y="154"/>
                  </a:lnTo>
                  <a:lnTo>
                    <a:pt x="4" y="142"/>
                  </a:lnTo>
                  <a:lnTo>
                    <a:pt x="2" y="130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0" y="128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1" y="152"/>
                  </a:lnTo>
                  <a:lnTo>
                    <a:pt x="2" y="164"/>
                  </a:lnTo>
                  <a:lnTo>
                    <a:pt x="5" y="176"/>
                  </a:lnTo>
                  <a:lnTo>
                    <a:pt x="9" y="187"/>
                  </a:lnTo>
                  <a:lnTo>
                    <a:pt x="15" y="197"/>
                  </a:lnTo>
                  <a:lnTo>
                    <a:pt x="20" y="207"/>
                  </a:lnTo>
                  <a:lnTo>
                    <a:pt x="27" y="216"/>
                  </a:lnTo>
                  <a:lnTo>
                    <a:pt x="35" y="225"/>
                  </a:lnTo>
                  <a:lnTo>
                    <a:pt x="44" y="233"/>
                  </a:lnTo>
                  <a:lnTo>
                    <a:pt x="53" y="240"/>
                  </a:lnTo>
                  <a:lnTo>
                    <a:pt x="63" y="246"/>
                  </a:lnTo>
                  <a:lnTo>
                    <a:pt x="74" y="251"/>
                  </a:lnTo>
                  <a:lnTo>
                    <a:pt x="84" y="255"/>
                  </a:lnTo>
                  <a:lnTo>
                    <a:pt x="96" y="258"/>
                  </a:lnTo>
                  <a:lnTo>
                    <a:pt x="108" y="260"/>
                  </a:lnTo>
                  <a:lnTo>
                    <a:pt x="120" y="261"/>
                  </a:lnTo>
                  <a:lnTo>
                    <a:pt x="120" y="261"/>
                  </a:lnTo>
                  <a:lnTo>
                    <a:pt x="131" y="260"/>
                  </a:lnTo>
                  <a:lnTo>
                    <a:pt x="140" y="259"/>
                  </a:lnTo>
                  <a:lnTo>
                    <a:pt x="150" y="257"/>
                  </a:lnTo>
                  <a:lnTo>
                    <a:pt x="158" y="254"/>
                  </a:lnTo>
                  <a:lnTo>
                    <a:pt x="168" y="251"/>
                  </a:lnTo>
                  <a:lnTo>
                    <a:pt x="176" y="247"/>
                  </a:lnTo>
                  <a:lnTo>
                    <a:pt x="185" y="242"/>
                  </a:lnTo>
                  <a:lnTo>
                    <a:pt x="192" y="236"/>
                  </a:lnTo>
                  <a:lnTo>
                    <a:pt x="192" y="236"/>
                  </a:lnTo>
                  <a:lnTo>
                    <a:pt x="185" y="244"/>
                  </a:lnTo>
                  <a:lnTo>
                    <a:pt x="177" y="249"/>
                  </a:lnTo>
                  <a:lnTo>
                    <a:pt x="169" y="254"/>
                  </a:lnTo>
                  <a:lnTo>
                    <a:pt x="161" y="259"/>
                  </a:lnTo>
                  <a:lnTo>
                    <a:pt x="152" y="262"/>
                  </a:lnTo>
                  <a:lnTo>
                    <a:pt x="143" y="265"/>
                  </a:lnTo>
                  <a:lnTo>
                    <a:pt x="134" y="267"/>
                  </a:lnTo>
                  <a:lnTo>
                    <a:pt x="125" y="269"/>
                  </a:lnTo>
                  <a:lnTo>
                    <a:pt x="115" y="270"/>
                  </a:lnTo>
                  <a:lnTo>
                    <a:pt x="106" y="270"/>
                  </a:lnTo>
                  <a:lnTo>
                    <a:pt x="96" y="269"/>
                  </a:lnTo>
                  <a:lnTo>
                    <a:pt x="87" y="267"/>
                  </a:lnTo>
                  <a:lnTo>
                    <a:pt x="77" y="265"/>
                  </a:lnTo>
                  <a:lnTo>
                    <a:pt x="68" y="262"/>
                  </a:lnTo>
                  <a:lnTo>
                    <a:pt x="58" y="259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49" y="252"/>
                  </a:lnTo>
                  <a:lnTo>
                    <a:pt x="49" y="252"/>
                  </a:lnTo>
                  <a:lnTo>
                    <a:pt x="57" y="260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78" y="271"/>
                  </a:lnTo>
                  <a:lnTo>
                    <a:pt x="89" y="277"/>
                  </a:lnTo>
                  <a:lnTo>
                    <a:pt x="100" y="280"/>
                  </a:lnTo>
                  <a:lnTo>
                    <a:pt x="112" y="282"/>
                  </a:lnTo>
                  <a:lnTo>
                    <a:pt x="124" y="283"/>
                  </a:lnTo>
                  <a:lnTo>
                    <a:pt x="135" y="283"/>
                  </a:lnTo>
                  <a:lnTo>
                    <a:pt x="147" y="281"/>
                  </a:lnTo>
                  <a:lnTo>
                    <a:pt x="158" y="279"/>
                  </a:lnTo>
                  <a:lnTo>
                    <a:pt x="169" y="276"/>
                  </a:lnTo>
                  <a:lnTo>
                    <a:pt x="180" y="271"/>
                  </a:lnTo>
                  <a:lnTo>
                    <a:pt x="190" y="266"/>
                  </a:lnTo>
                  <a:lnTo>
                    <a:pt x="200" y="260"/>
                  </a:lnTo>
                  <a:lnTo>
                    <a:pt x="209" y="251"/>
                  </a:lnTo>
                  <a:lnTo>
                    <a:pt x="218" y="244"/>
                  </a:lnTo>
                  <a:lnTo>
                    <a:pt x="225" y="23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37" y="216"/>
                  </a:lnTo>
                  <a:lnTo>
                    <a:pt x="240" y="208"/>
                  </a:lnTo>
                  <a:lnTo>
                    <a:pt x="245" y="191"/>
                  </a:lnTo>
                  <a:lnTo>
                    <a:pt x="248" y="175"/>
                  </a:lnTo>
                  <a:lnTo>
                    <a:pt x="249" y="158"/>
                  </a:lnTo>
                  <a:lnTo>
                    <a:pt x="247" y="141"/>
                  </a:lnTo>
                  <a:lnTo>
                    <a:pt x="243" y="125"/>
                  </a:lnTo>
                  <a:lnTo>
                    <a:pt x="237" y="109"/>
                  </a:lnTo>
                  <a:lnTo>
                    <a:pt x="228" y="94"/>
                  </a:lnTo>
                  <a:lnTo>
                    <a:pt x="228" y="94"/>
                  </a:lnTo>
                  <a:lnTo>
                    <a:pt x="239" y="106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53" y="129"/>
                  </a:lnTo>
                  <a:lnTo>
                    <a:pt x="257" y="140"/>
                  </a:lnTo>
                  <a:lnTo>
                    <a:pt x="260" y="152"/>
                  </a:lnTo>
                  <a:lnTo>
                    <a:pt x="262" y="162"/>
                  </a:lnTo>
                  <a:lnTo>
                    <a:pt x="263" y="174"/>
                  </a:lnTo>
                  <a:lnTo>
                    <a:pt x="263" y="186"/>
                  </a:lnTo>
                  <a:lnTo>
                    <a:pt x="262" y="197"/>
                  </a:lnTo>
                  <a:lnTo>
                    <a:pt x="259" y="208"/>
                  </a:lnTo>
                  <a:lnTo>
                    <a:pt x="256" y="219"/>
                  </a:lnTo>
                  <a:lnTo>
                    <a:pt x="252" y="230"/>
                  </a:lnTo>
                  <a:lnTo>
                    <a:pt x="246" y="240"/>
                  </a:lnTo>
                  <a:lnTo>
                    <a:pt x="240" y="249"/>
                  </a:lnTo>
                  <a:lnTo>
                    <a:pt x="232" y="259"/>
                  </a:lnTo>
                  <a:lnTo>
                    <a:pt x="224" y="267"/>
                  </a:lnTo>
                  <a:lnTo>
                    <a:pt x="214" y="275"/>
                  </a:lnTo>
                  <a:lnTo>
                    <a:pt x="205" y="281"/>
                  </a:lnTo>
                  <a:lnTo>
                    <a:pt x="205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14" y="277"/>
                  </a:lnTo>
                  <a:lnTo>
                    <a:pt x="224" y="271"/>
                  </a:lnTo>
                  <a:lnTo>
                    <a:pt x="224" y="271"/>
                  </a:lnTo>
                  <a:lnTo>
                    <a:pt x="235" y="265"/>
                  </a:lnTo>
                  <a:lnTo>
                    <a:pt x="244" y="258"/>
                  </a:lnTo>
                  <a:lnTo>
                    <a:pt x="253" y="249"/>
                  </a:lnTo>
                  <a:lnTo>
                    <a:pt x="260" y="240"/>
                  </a:lnTo>
                  <a:lnTo>
                    <a:pt x="266" y="230"/>
                  </a:lnTo>
                  <a:lnTo>
                    <a:pt x="272" y="219"/>
                  </a:lnTo>
                  <a:lnTo>
                    <a:pt x="276" y="209"/>
                  </a:lnTo>
                  <a:lnTo>
                    <a:pt x="280" y="198"/>
                  </a:lnTo>
                  <a:lnTo>
                    <a:pt x="282" y="187"/>
                  </a:lnTo>
                  <a:lnTo>
                    <a:pt x="283" y="175"/>
                  </a:lnTo>
                  <a:lnTo>
                    <a:pt x="283" y="163"/>
                  </a:lnTo>
                  <a:lnTo>
                    <a:pt x="282" y="152"/>
                  </a:lnTo>
                  <a:lnTo>
                    <a:pt x="280" y="140"/>
                  </a:lnTo>
                  <a:lnTo>
                    <a:pt x="277" y="128"/>
                  </a:lnTo>
                  <a:lnTo>
                    <a:pt x="273" y="118"/>
                  </a:lnTo>
                  <a:lnTo>
                    <a:pt x="266" y="106"/>
                  </a:lnTo>
                  <a:lnTo>
                    <a:pt x="266" y="106"/>
                  </a:lnTo>
                  <a:lnTo>
                    <a:pt x="257" y="92"/>
                  </a:lnTo>
                  <a:lnTo>
                    <a:pt x="246" y="81"/>
                  </a:lnTo>
                  <a:lnTo>
                    <a:pt x="235" y="70"/>
                  </a:lnTo>
                  <a:lnTo>
                    <a:pt x="221" y="62"/>
                  </a:lnTo>
                  <a:lnTo>
                    <a:pt x="206" y="55"/>
                  </a:lnTo>
                  <a:lnTo>
                    <a:pt x="191" y="50"/>
                  </a:lnTo>
                  <a:lnTo>
                    <a:pt x="176" y="48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77" y="46"/>
                  </a:lnTo>
                  <a:lnTo>
                    <a:pt x="177" y="46"/>
                  </a:lnTo>
                  <a:lnTo>
                    <a:pt x="189" y="46"/>
                  </a:lnTo>
                  <a:lnTo>
                    <a:pt x="202" y="48"/>
                  </a:lnTo>
                  <a:lnTo>
                    <a:pt x="212" y="51"/>
                  </a:lnTo>
                  <a:lnTo>
                    <a:pt x="224" y="55"/>
                  </a:lnTo>
                  <a:lnTo>
                    <a:pt x="234" y="59"/>
                  </a:lnTo>
                  <a:lnTo>
                    <a:pt x="244" y="66"/>
                  </a:lnTo>
                  <a:lnTo>
                    <a:pt x="253" y="73"/>
                  </a:lnTo>
                  <a:lnTo>
                    <a:pt x="261" y="81"/>
                  </a:lnTo>
                  <a:lnTo>
                    <a:pt x="268" y="89"/>
                  </a:lnTo>
                  <a:lnTo>
                    <a:pt x="276" y="98"/>
                  </a:lnTo>
                  <a:lnTo>
                    <a:pt x="282" y="108"/>
                  </a:lnTo>
                  <a:lnTo>
                    <a:pt x="286" y="118"/>
                  </a:lnTo>
                  <a:lnTo>
                    <a:pt x="291" y="129"/>
                  </a:lnTo>
                  <a:lnTo>
                    <a:pt x="294" y="141"/>
                  </a:lnTo>
                  <a:lnTo>
                    <a:pt x="296" y="153"/>
                  </a:lnTo>
                  <a:lnTo>
                    <a:pt x="296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5"/>
                  </a:lnTo>
                  <a:lnTo>
                    <a:pt x="298" y="155"/>
                  </a:lnTo>
                  <a:lnTo>
                    <a:pt x="298" y="143"/>
                  </a:lnTo>
                  <a:lnTo>
                    <a:pt x="298" y="143"/>
                  </a:lnTo>
                  <a:close/>
                  <a:moveTo>
                    <a:pt x="171" y="142"/>
                  </a:moveTo>
                  <a:lnTo>
                    <a:pt x="171" y="142"/>
                  </a:lnTo>
                  <a:lnTo>
                    <a:pt x="170" y="146"/>
                  </a:lnTo>
                  <a:lnTo>
                    <a:pt x="169" y="151"/>
                  </a:lnTo>
                  <a:lnTo>
                    <a:pt x="167" y="155"/>
                  </a:lnTo>
                  <a:lnTo>
                    <a:pt x="165" y="158"/>
                  </a:lnTo>
                  <a:lnTo>
                    <a:pt x="162" y="160"/>
                  </a:lnTo>
                  <a:lnTo>
                    <a:pt x="157" y="162"/>
                  </a:lnTo>
                  <a:lnTo>
                    <a:pt x="153" y="163"/>
                  </a:lnTo>
                  <a:lnTo>
                    <a:pt x="149" y="164"/>
                  </a:lnTo>
                  <a:lnTo>
                    <a:pt x="149" y="164"/>
                  </a:lnTo>
                  <a:lnTo>
                    <a:pt x="145" y="163"/>
                  </a:lnTo>
                  <a:lnTo>
                    <a:pt x="140" y="162"/>
                  </a:lnTo>
                  <a:lnTo>
                    <a:pt x="137" y="160"/>
                  </a:lnTo>
                  <a:lnTo>
                    <a:pt x="134" y="158"/>
                  </a:lnTo>
                  <a:lnTo>
                    <a:pt x="131" y="155"/>
                  </a:lnTo>
                  <a:lnTo>
                    <a:pt x="129" y="151"/>
                  </a:lnTo>
                  <a:lnTo>
                    <a:pt x="128" y="146"/>
                  </a:lnTo>
                  <a:lnTo>
                    <a:pt x="127" y="142"/>
                  </a:lnTo>
                  <a:lnTo>
                    <a:pt x="127" y="142"/>
                  </a:lnTo>
                  <a:lnTo>
                    <a:pt x="128" y="138"/>
                  </a:lnTo>
                  <a:lnTo>
                    <a:pt x="129" y="134"/>
                  </a:lnTo>
                  <a:lnTo>
                    <a:pt x="131" y="130"/>
                  </a:lnTo>
                  <a:lnTo>
                    <a:pt x="134" y="126"/>
                  </a:lnTo>
                  <a:lnTo>
                    <a:pt x="137" y="124"/>
                  </a:lnTo>
                  <a:lnTo>
                    <a:pt x="140" y="122"/>
                  </a:lnTo>
                  <a:lnTo>
                    <a:pt x="145" y="121"/>
                  </a:lnTo>
                  <a:lnTo>
                    <a:pt x="149" y="120"/>
                  </a:lnTo>
                  <a:lnTo>
                    <a:pt x="149" y="120"/>
                  </a:lnTo>
                  <a:lnTo>
                    <a:pt x="153" y="121"/>
                  </a:lnTo>
                  <a:lnTo>
                    <a:pt x="157" y="122"/>
                  </a:lnTo>
                  <a:lnTo>
                    <a:pt x="162" y="124"/>
                  </a:lnTo>
                  <a:lnTo>
                    <a:pt x="165" y="126"/>
                  </a:lnTo>
                  <a:lnTo>
                    <a:pt x="167" y="130"/>
                  </a:lnTo>
                  <a:lnTo>
                    <a:pt x="169" y="134"/>
                  </a:lnTo>
                  <a:lnTo>
                    <a:pt x="170" y="138"/>
                  </a:lnTo>
                  <a:lnTo>
                    <a:pt x="171" y="142"/>
                  </a:lnTo>
                  <a:lnTo>
                    <a:pt x="171" y="14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7" name="Group 4">
            <a:extLst>
              <a:ext uri="{FF2B5EF4-FFF2-40B4-BE49-F238E27FC236}">
                <a16:creationId xmlns:a16="http://schemas.microsoft.com/office/drawing/2014/main" id="{C0D73F1E-1A92-4061-AA6A-BCCDA35CE5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93207" y="1822447"/>
            <a:ext cx="762000" cy="620712"/>
            <a:chOff x="3601" y="1965"/>
            <a:chExt cx="480" cy="391"/>
          </a:xfrm>
          <a:solidFill>
            <a:schemeClr val="accent2"/>
          </a:solidFill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DC3A6A8F-E294-4B33-81B7-FF4016060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2"/>
              <a:ext cx="101" cy="314"/>
            </a:xfrm>
            <a:custGeom>
              <a:avLst/>
              <a:gdLst>
                <a:gd name="T0" fmla="*/ 80 w 101"/>
                <a:gd name="T1" fmla="*/ 0 h 314"/>
                <a:gd name="T2" fmla="*/ 21 w 101"/>
                <a:gd name="T3" fmla="*/ 0 h 314"/>
                <a:gd name="T4" fmla="*/ 0 w 101"/>
                <a:gd name="T5" fmla="*/ 148 h 314"/>
                <a:gd name="T6" fmla="*/ 18 w 101"/>
                <a:gd name="T7" fmla="*/ 148 h 314"/>
                <a:gd name="T8" fmla="*/ 18 w 101"/>
                <a:gd name="T9" fmla="*/ 300 h 314"/>
                <a:gd name="T10" fmla="*/ 18 w 101"/>
                <a:gd name="T11" fmla="*/ 300 h 314"/>
                <a:gd name="T12" fmla="*/ 19 w 101"/>
                <a:gd name="T13" fmla="*/ 306 h 314"/>
                <a:gd name="T14" fmla="*/ 21 w 101"/>
                <a:gd name="T15" fmla="*/ 311 h 314"/>
                <a:gd name="T16" fmla="*/ 27 w 101"/>
                <a:gd name="T17" fmla="*/ 313 h 314"/>
                <a:gd name="T18" fmla="*/ 32 w 101"/>
                <a:gd name="T19" fmla="*/ 314 h 314"/>
                <a:gd name="T20" fmla="*/ 32 w 101"/>
                <a:gd name="T21" fmla="*/ 314 h 314"/>
                <a:gd name="T22" fmla="*/ 37 w 101"/>
                <a:gd name="T23" fmla="*/ 313 h 314"/>
                <a:gd name="T24" fmla="*/ 41 w 101"/>
                <a:gd name="T25" fmla="*/ 311 h 314"/>
                <a:gd name="T26" fmla="*/ 45 w 101"/>
                <a:gd name="T27" fmla="*/ 306 h 314"/>
                <a:gd name="T28" fmla="*/ 46 w 101"/>
                <a:gd name="T29" fmla="*/ 300 h 314"/>
                <a:gd name="T30" fmla="*/ 46 w 101"/>
                <a:gd name="T31" fmla="*/ 148 h 314"/>
                <a:gd name="T32" fmla="*/ 56 w 101"/>
                <a:gd name="T33" fmla="*/ 148 h 314"/>
                <a:gd name="T34" fmla="*/ 56 w 101"/>
                <a:gd name="T35" fmla="*/ 300 h 314"/>
                <a:gd name="T36" fmla="*/ 56 w 101"/>
                <a:gd name="T37" fmla="*/ 300 h 314"/>
                <a:gd name="T38" fmla="*/ 57 w 101"/>
                <a:gd name="T39" fmla="*/ 306 h 314"/>
                <a:gd name="T40" fmla="*/ 61 w 101"/>
                <a:gd name="T41" fmla="*/ 311 h 314"/>
                <a:gd name="T42" fmla="*/ 65 w 101"/>
                <a:gd name="T43" fmla="*/ 313 h 314"/>
                <a:gd name="T44" fmla="*/ 70 w 101"/>
                <a:gd name="T45" fmla="*/ 314 h 314"/>
                <a:gd name="T46" fmla="*/ 70 w 101"/>
                <a:gd name="T47" fmla="*/ 314 h 314"/>
                <a:gd name="T48" fmla="*/ 75 w 101"/>
                <a:gd name="T49" fmla="*/ 313 h 314"/>
                <a:gd name="T50" fmla="*/ 80 w 101"/>
                <a:gd name="T51" fmla="*/ 311 h 314"/>
                <a:gd name="T52" fmla="*/ 83 w 101"/>
                <a:gd name="T53" fmla="*/ 306 h 314"/>
                <a:gd name="T54" fmla="*/ 84 w 101"/>
                <a:gd name="T55" fmla="*/ 300 h 314"/>
                <a:gd name="T56" fmla="*/ 84 w 101"/>
                <a:gd name="T57" fmla="*/ 148 h 314"/>
                <a:gd name="T58" fmla="*/ 101 w 101"/>
                <a:gd name="T59" fmla="*/ 148 h 314"/>
                <a:gd name="T60" fmla="*/ 80 w 101"/>
                <a:gd name="T6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314">
                  <a:moveTo>
                    <a:pt x="80" y="0"/>
                  </a:moveTo>
                  <a:lnTo>
                    <a:pt x="21" y="0"/>
                  </a:lnTo>
                  <a:lnTo>
                    <a:pt x="0" y="148"/>
                  </a:lnTo>
                  <a:lnTo>
                    <a:pt x="18" y="148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9" y="306"/>
                  </a:lnTo>
                  <a:lnTo>
                    <a:pt x="21" y="311"/>
                  </a:lnTo>
                  <a:lnTo>
                    <a:pt x="27" y="313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7" y="313"/>
                  </a:lnTo>
                  <a:lnTo>
                    <a:pt x="41" y="311"/>
                  </a:lnTo>
                  <a:lnTo>
                    <a:pt x="45" y="306"/>
                  </a:lnTo>
                  <a:lnTo>
                    <a:pt x="46" y="300"/>
                  </a:lnTo>
                  <a:lnTo>
                    <a:pt x="46" y="148"/>
                  </a:lnTo>
                  <a:lnTo>
                    <a:pt x="56" y="148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7" y="306"/>
                  </a:lnTo>
                  <a:lnTo>
                    <a:pt x="61" y="311"/>
                  </a:lnTo>
                  <a:lnTo>
                    <a:pt x="65" y="313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5" y="313"/>
                  </a:lnTo>
                  <a:lnTo>
                    <a:pt x="80" y="311"/>
                  </a:lnTo>
                  <a:lnTo>
                    <a:pt x="83" y="306"/>
                  </a:lnTo>
                  <a:lnTo>
                    <a:pt x="84" y="300"/>
                  </a:lnTo>
                  <a:lnTo>
                    <a:pt x="84" y="148"/>
                  </a:lnTo>
                  <a:lnTo>
                    <a:pt x="101" y="148"/>
                  </a:ln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DCCEC658-690E-43DC-83CA-8079A3819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65"/>
              <a:ext cx="73" cy="73"/>
            </a:xfrm>
            <a:custGeom>
              <a:avLst/>
              <a:gdLst>
                <a:gd name="T0" fmla="*/ 37 w 73"/>
                <a:gd name="T1" fmla="*/ 73 h 73"/>
                <a:gd name="T2" fmla="*/ 37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7 w 73"/>
                <a:gd name="T13" fmla="*/ 56 h 73"/>
                <a:gd name="T14" fmla="*/ 71 w 73"/>
                <a:gd name="T15" fmla="*/ 50 h 73"/>
                <a:gd name="T16" fmla="*/ 73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3 w 73"/>
                <a:gd name="T23" fmla="*/ 28 h 73"/>
                <a:gd name="T24" fmla="*/ 71 w 73"/>
                <a:gd name="T25" fmla="*/ 22 h 73"/>
                <a:gd name="T26" fmla="*/ 67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7 w 73"/>
                <a:gd name="T37" fmla="*/ 0 h 73"/>
                <a:gd name="T38" fmla="*/ 37 w 73"/>
                <a:gd name="T39" fmla="*/ 0 h 73"/>
                <a:gd name="T40" fmla="*/ 30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6 w 73"/>
                <a:gd name="T49" fmla="*/ 16 h 73"/>
                <a:gd name="T50" fmla="*/ 3 w 73"/>
                <a:gd name="T51" fmla="*/ 22 h 73"/>
                <a:gd name="T52" fmla="*/ 1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1 w 73"/>
                <a:gd name="T59" fmla="*/ 43 h 73"/>
                <a:gd name="T60" fmla="*/ 3 w 73"/>
                <a:gd name="T61" fmla="*/ 50 h 73"/>
                <a:gd name="T62" fmla="*/ 6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30 w 73"/>
                <a:gd name="T71" fmla="*/ 71 h 73"/>
                <a:gd name="T72" fmla="*/ 37 w 73"/>
                <a:gd name="T73" fmla="*/ 73 h 73"/>
                <a:gd name="T74" fmla="*/ 37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7" y="73"/>
                  </a:moveTo>
                  <a:lnTo>
                    <a:pt x="37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7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28"/>
                  </a:lnTo>
                  <a:lnTo>
                    <a:pt x="71" y="22"/>
                  </a:lnTo>
                  <a:lnTo>
                    <a:pt x="67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3" y="50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30" y="71"/>
                  </a:lnTo>
                  <a:lnTo>
                    <a:pt x="37" y="73"/>
                  </a:lnTo>
                  <a:lnTo>
                    <a:pt x="37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394950B5-F7B3-4E9E-81E0-573FB00E5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042"/>
              <a:ext cx="39" cy="156"/>
            </a:xfrm>
            <a:custGeom>
              <a:avLst/>
              <a:gdLst>
                <a:gd name="T0" fmla="*/ 0 w 39"/>
                <a:gd name="T1" fmla="*/ 0 h 156"/>
                <a:gd name="T2" fmla="*/ 21 w 39"/>
                <a:gd name="T3" fmla="*/ 148 h 156"/>
                <a:gd name="T4" fmla="*/ 21 w 39"/>
                <a:gd name="T5" fmla="*/ 148 h 156"/>
                <a:gd name="T6" fmla="*/ 22 w 39"/>
                <a:gd name="T7" fmla="*/ 151 h 156"/>
                <a:gd name="T8" fmla="*/ 24 w 39"/>
                <a:gd name="T9" fmla="*/ 153 h 156"/>
                <a:gd name="T10" fmla="*/ 27 w 39"/>
                <a:gd name="T11" fmla="*/ 155 h 156"/>
                <a:gd name="T12" fmla="*/ 31 w 39"/>
                <a:gd name="T13" fmla="*/ 156 h 156"/>
                <a:gd name="T14" fmla="*/ 31 w 39"/>
                <a:gd name="T15" fmla="*/ 156 h 156"/>
                <a:gd name="T16" fmla="*/ 34 w 39"/>
                <a:gd name="T17" fmla="*/ 155 h 156"/>
                <a:gd name="T18" fmla="*/ 36 w 39"/>
                <a:gd name="T19" fmla="*/ 153 h 156"/>
                <a:gd name="T20" fmla="*/ 38 w 39"/>
                <a:gd name="T21" fmla="*/ 151 h 156"/>
                <a:gd name="T22" fmla="*/ 39 w 39"/>
                <a:gd name="T23" fmla="*/ 148 h 156"/>
                <a:gd name="T24" fmla="*/ 15 w 39"/>
                <a:gd name="T25" fmla="*/ 0 h 156"/>
                <a:gd name="T26" fmla="*/ 0 w 39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56">
                  <a:moveTo>
                    <a:pt x="0" y="0"/>
                  </a:moveTo>
                  <a:lnTo>
                    <a:pt x="21" y="148"/>
                  </a:lnTo>
                  <a:lnTo>
                    <a:pt x="21" y="148"/>
                  </a:lnTo>
                  <a:lnTo>
                    <a:pt x="22" y="151"/>
                  </a:lnTo>
                  <a:lnTo>
                    <a:pt x="24" y="153"/>
                  </a:lnTo>
                  <a:lnTo>
                    <a:pt x="27" y="155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4" y="155"/>
                  </a:lnTo>
                  <a:lnTo>
                    <a:pt x="36" y="153"/>
                  </a:lnTo>
                  <a:lnTo>
                    <a:pt x="38" y="151"/>
                  </a:lnTo>
                  <a:lnTo>
                    <a:pt x="39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F1FA9B61-9CCD-42CE-AF95-87A2D349F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2042"/>
              <a:ext cx="38" cy="156"/>
            </a:xfrm>
            <a:custGeom>
              <a:avLst/>
              <a:gdLst>
                <a:gd name="T0" fmla="*/ 23 w 38"/>
                <a:gd name="T1" fmla="*/ 0 h 156"/>
                <a:gd name="T2" fmla="*/ 0 w 38"/>
                <a:gd name="T3" fmla="*/ 148 h 156"/>
                <a:gd name="T4" fmla="*/ 0 w 38"/>
                <a:gd name="T5" fmla="*/ 148 h 156"/>
                <a:gd name="T6" fmla="*/ 0 w 38"/>
                <a:gd name="T7" fmla="*/ 151 h 156"/>
                <a:gd name="T8" fmla="*/ 2 w 38"/>
                <a:gd name="T9" fmla="*/ 153 h 156"/>
                <a:gd name="T10" fmla="*/ 5 w 38"/>
                <a:gd name="T11" fmla="*/ 155 h 156"/>
                <a:gd name="T12" fmla="*/ 8 w 38"/>
                <a:gd name="T13" fmla="*/ 156 h 156"/>
                <a:gd name="T14" fmla="*/ 8 w 38"/>
                <a:gd name="T15" fmla="*/ 156 h 156"/>
                <a:gd name="T16" fmla="*/ 11 w 38"/>
                <a:gd name="T17" fmla="*/ 155 h 156"/>
                <a:gd name="T18" fmla="*/ 15 w 38"/>
                <a:gd name="T19" fmla="*/ 153 h 156"/>
                <a:gd name="T20" fmla="*/ 17 w 38"/>
                <a:gd name="T21" fmla="*/ 151 h 156"/>
                <a:gd name="T22" fmla="*/ 17 w 38"/>
                <a:gd name="T23" fmla="*/ 148 h 156"/>
                <a:gd name="T24" fmla="*/ 38 w 38"/>
                <a:gd name="T25" fmla="*/ 0 h 156"/>
                <a:gd name="T26" fmla="*/ 23 w 38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6">
                  <a:moveTo>
                    <a:pt x="23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7" y="151"/>
                  </a:lnTo>
                  <a:lnTo>
                    <a:pt x="17" y="148"/>
                  </a:lnTo>
                  <a:lnTo>
                    <a:pt x="38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C60BEE96-A084-4DCA-B0A9-8EFC48DE3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1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1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D2BB9035-4E94-4A8A-B1CC-8A9B57FB6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1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6ABE4562-AD0F-44DA-8CF6-E9BA47B3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3 w 73"/>
                <a:gd name="T11" fmla="*/ 62 h 73"/>
                <a:gd name="T12" fmla="*/ 67 w 73"/>
                <a:gd name="T13" fmla="*/ 56 h 73"/>
                <a:gd name="T14" fmla="*/ 70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70 w 73"/>
                <a:gd name="T25" fmla="*/ 22 h 73"/>
                <a:gd name="T26" fmla="*/ 67 w 73"/>
                <a:gd name="T27" fmla="*/ 16 h 73"/>
                <a:gd name="T28" fmla="*/ 63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9 w 73"/>
                <a:gd name="T41" fmla="*/ 0 h 73"/>
                <a:gd name="T42" fmla="*/ 23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7 w 73"/>
                <a:gd name="T49" fmla="*/ 16 h 73"/>
                <a:gd name="T50" fmla="*/ 4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4 w 73"/>
                <a:gd name="T61" fmla="*/ 50 h 73"/>
                <a:gd name="T62" fmla="*/ 7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3 w 73"/>
                <a:gd name="T69" fmla="*/ 69 h 73"/>
                <a:gd name="T70" fmla="*/ 29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3" y="62"/>
                  </a:lnTo>
                  <a:lnTo>
                    <a:pt x="67" y="56"/>
                  </a:lnTo>
                  <a:lnTo>
                    <a:pt x="70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4" y="50"/>
                  </a:lnTo>
                  <a:lnTo>
                    <a:pt x="7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3" y="69"/>
                  </a:lnTo>
                  <a:lnTo>
                    <a:pt x="29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0AF12A22-EAB7-4F20-8EEE-AD4668BC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2" y="2042"/>
              <a:ext cx="84" cy="314"/>
            </a:xfrm>
            <a:custGeom>
              <a:avLst/>
              <a:gdLst>
                <a:gd name="T0" fmla="*/ 41 w 84"/>
                <a:gd name="T1" fmla="*/ 31 h 314"/>
                <a:gd name="T2" fmla="*/ 21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2 w 84"/>
                <a:gd name="T21" fmla="*/ 314 h 314"/>
                <a:gd name="T22" fmla="*/ 22 w 84"/>
                <a:gd name="T23" fmla="*/ 314 h 314"/>
                <a:gd name="T24" fmla="*/ 28 w 84"/>
                <a:gd name="T25" fmla="*/ 313 h 314"/>
                <a:gd name="T26" fmla="*/ 33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0 w 84"/>
                <a:gd name="T47" fmla="*/ 314 h 314"/>
                <a:gd name="T48" fmla="*/ 60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5 w 84"/>
                <a:gd name="T57" fmla="*/ 300 h 314"/>
                <a:gd name="T58" fmla="*/ 75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2 w 84"/>
                <a:gd name="T65" fmla="*/ 0 h 314"/>
                <a:gd name="T66" fmla="*/ 41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1" y="3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8" y="313"/>
                  </a:lnTo>
                  <a:lnTo>
                    <a:pt x="33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5" y="300"/>
                  </a:lnTo>
                  <a:lnTo>
                    <a:pt x="75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7AFA953E-9202-41F3-9BBB-625D33473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2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2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06BB1CA4-3F48-4ADD-9941-113E7B089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2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2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85A3CFB6-1E6D-4465-A402-68E402696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3 w 73"/>
                <a:gd name="T5" fmla="*/ 71 h 73"/>
                <a:gd name="T6" fmla="*/ 50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6 w 73"/>
                <a:gd name="T13" fmla="*/ 56 h 73"/>
                <a:gd name="T14" fmla="*/ 69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69 w 73"/>
                <a:gd name="T25" fmla="*/ 22 h 73"/>
                <a:gd name="T26" fmla="*/ 66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0 w 73"/>
                <a:gd name="T33" fmla="*/ 2 h 73"/>
                <a:gd name="T34" fmla="*/ 43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8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0 w 73"/>
                <a:gd name="T47" fmla="*/ 11 h 73"/>
                <a:gd name="T48" fmla="*/ 6 w 73"/>
                <a:gd name="T49" fmla="*/ 16 h 73"/>
                <a:gd name="T50" fmla="*/ 2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2 w 73"/>
                <a:gd name="T61" fmla="*/ 50 h 73"/>
                <a:gd name="T62" fmla="*/ 6 w 73"/>
                <a:gd name="T63" fmla="*/ 56 h 73"/>
                <a:gd name="T64" fmla="*/ 10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28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3" y="71"/>
                  </a:lnTo>
                  <a:lnTo>
                    <a:pt x="50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69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69" y="22"/>
                  </a:lnTo>
                  <a:lnTo>
                    <a:pt x="66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1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28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D32992B8-936F-464B-9E82-4F2E12E9E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2042"/>
              <a:ext cx="84" cy="314"/>
            </a:xfrm>
            <a:custGeom>
              <a:avLst/>
              <a:gdLst>
                <a:gd name="T0" fmla="*/ 42 w 84"/>
                <a:gd name="T1" fmla="*/ 31 h 314"/>
                <a:gd name="T2" fmla="*/ 22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3 w 84"/>
                <a:gd name="T21" fmla="*/ 314 h 314"/>
                <a:gd name="T22" fmla="*/ 23 w 84"/>
                <a:gd name="T23" fmla="*/ 314 h 314"/>
                <a:gd name="T24" fmla="*/ 28 w 84"/>
                <a:gd name="T25" fmla="*/ 313 h 314"/>
                <a:gd name="T26" fmla="*/ 32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1 w 84"/>
                <a:gd name="T47" fmla="*/ 314 h 314"/>
                <a:gd name="T48" fmla="*/ 61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4 w 84"/>
                <a:gd name="T57" fmla="*/ 300 h 314"/>
                <a:gd name="T58" fmla="*/ 74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3 w 84"/>
                <a:gd name="T65" fmla="*/ 0 h 314"/>
                <a:gd name="T66" fmla="*/ 42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2" y="31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8" y="313"/>
                  </a:lnTo>
                  <a:lnTo>
                    <a:pt x="32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1" y="314"/>
                  </a:lnTo>
                  <a:lnTo>
                    <a:pt x="61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4" y="300"/>
                  </a:lnTo>
                  <a:lnTo>
                    <a:pt x="74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4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0" name="Group 4">
            <a:extLst>
              <a:ext uri="{FF2B5EF4-FFF2-40B4-BE49-F238E27FC236}">
                <a16:creationId xmlns:a16="http://schemas.microsoft.com/office/drawing/2014/main" id="{813768B6-2DA2-41F6-967D-B7E8F52CF4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55208" y="3529185"/>
            <a:ext cx="1240972" cy="814387"/>
            <a:chOff x="3601" y="2003"/>
            <a:chExt cx="480" cy="315"/>
          </a:xfrm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430A822A-0C59-48D3-A3C1-5B2833C67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003"/>
              <a:ext cx="425" cy="261"/>
            </a:xfrm>
            <a:custGeom>
              <a:avLst/>
              <a:gdLst>
                <a:gd name="T0" fmla="*/ 0 w 425"/>
                <a:gd name="T1" fmla="*/ 261 h 261"/>
                <a:gd name="T2" fmla="*/ 425 w 425"/>
                <a:gd name="T3" fmla="*/ 0 h 261"/>
                <a:gd name="T4" fmla="*/ 212 w 425"/>
                <a:gd name="T5" fmla="*/ 240 h 261"/>
                <a:gd name="T6" fmla="*/ 201 w 425"/>
                <a:gd name="T7" fmla="*/ 239 h 261"/>
                <a:gd name="T8" fmla="*/ 180 w 425"/>
                <a:gd name="T9" fmla="*/ 234 h 261"/>
                <a:gd name="T10" fmla="*/ 161 w 425"/>
                <a:gd name="T11" fmla="*/ 226 h 261"/>
                <a:gd name="T12" fmla="*/ 143 w 425"/>
                <a:gd name="T13" fmla="*/ 214 h 261"/>
                <a:gd name="T14" fmla="*/ 128 w 425"/>
                <a:gd name="T15" fmla="*/ 199 h 261"/>
                <a:gd name="T16" fmla="*/ 116 w 425"/>
                <a:gd name="T17" fmla="*/ 182 h 261"/>
                <a:gd name="T18" fmla="*/ 109 w 425"/>
                <a:gd name="T19" fmla="*/ 163 h 261"/>
                <a:gd name="T20" fmla="*/ 105 w 425"/>
                <a:gd name="T21" fmla="*/ 142 h 261"/>
                <a:gd name="T22" fmla="*/ 104 w 425"/>
                <a:gd name="T23" fmla="*/ 130 h 261"/>
                <a:gd name="T24" fmla="*/ 106 w 425"/>
                <a:gd name="T25" fmla="*/ 108 h 261"/>
                <a:gd name="T26" fmla="*/ 112 w 425"/>
                <a:gd name="T27" fmla="*/ 88 h 261"/>
                <a:gd name="T28" fmla="*/ 123 w 425"/>
                <a:gd name="T29" fmla="*/ 70 h 261"/>
                <a:gd name="T30" fmla="*/ 135 w 425"/>
                <a:gd name="T31" fmla="*/ 54 h 261"/>
                <a:gd name="T32" fmla="*/ 151 w 425"/>
                <a:gd name="T33" fmla="*/ 40 h 261"/>
                <a:gd name="T34" fmla="*/ 170 w 425"/>
                <a:gd name="T35" fmla="*/ 31 h 261"/>
                <a:gd name="T36" fmla="*/ 190 w 425"/>
                <a:gd name="T37" fmla="*/ 24 h 261"/>
                <a:gd name="T38" fmla="*/ 212 w 425"/>
                <a:gd name="T39" fmla="*/ 22 h 261"/>
                <a:gd name="T40" fmla="*/ 223 w 425"/>
                <a:gd name="T41" fmla="*/ 22 h 261"/>
                <a:gd name="T42" fmla="*/ 244 w 425"/>
                <a:gd name="T43" fmla="*/ 27 h 261"/>
                <a:gd name="T44" fmla="*/ 263 w 425"/>
                <a:gd name="T45" fmla="*/ 35 h 261"/>
                <a:gd name="T46" fmla="*/ 281 w 425"/>
                <a:gd name="T47" fmla="*/ 47 h 261"/>
                <a:gd name="T48" fmla="*/ 296 w 425"/>
                <a:gd name="T49" fmla="*/ 62 h 261"/>
                <a:gd name="T50" fmla="*/ 308 w 425"/>
                <a:gd name="T51" fmla="*/ 78 h 261"/>
                <a:gd name="T52" fmla="*/ 315 w 425"/>
                <a:gd name="T53" fmla="*/ 99 h 261"/>
                <a:gd name="T54" fmla="*/ 320 w 425"/>
                <a:gd name="T55" fmla="*/ 120 h 261"/>
                <a:gd name="T56" fmla="*/ 320 w 425"/>
                <a:gd name="T57" fmla="*/ 130 h 261"/>
                <a:gd name="T58" fmla="*/ 318 w 425"/>
                <a:gd name="T59" fmla="*/ 153 h 261"/>
                <a:gd name="T60" fmla="*/ 312 w 425"/>
                <a:gd name="T61" fmla="*/ 173 h 261"/>
                <a:gd name="T62" fmla="*/ 302 w 425"/>
                <a:gd name="T63" fmla="*/ 191 h 261"/>
                <a:gd name="T64" fmla="*/ 289 w 425"/>
                <a:gd name="T65" fmla="*/ 208 h 261"/>
                <a:gd name="T66" fmla="*/ 273 w 425"/>
                <a:gd name="T67" fmla="*/ 221 h 261"/>
                <a:gd name="T68" fmla="*/ 254 w 425"/>
                <a:gd name="T69" fmla="*/ 231 h 261"/>
                <a:gd name="T70" fmla="*/ 234 w 425"/>
                <a:gd name="T71" fmla="*/ 237 h 261"/>
                <a:gd name="T72" fmla="*/ 212 w 425"/>
                <a:gd name="T73" fmla="*/ 24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5" h="261">
                  <a:moveTo>
                    <a:pt x="0" y="0"/>
                  </a:moveTo>
                  <a:lnTo>
                    <a:pt x="0" y="261"/>
                  </a:lnTo>
                  <a:lnTo>
                    <a:pt x="425" y="261"/>
                  </a:lnTo>
                  <a:lnTo>
                    <a:pt x="425" y="0"/>
                  </a:lnTo>
                  <a:lnTo>
                    <a:pt x="0" y="0"/>
                  </a:lnTo>
                  <a:close/>
                  <a:moveTo>
                    <a:pt x="212" y="240"/>
                  </a:moveTo>
                  <a:lnTo>
                    <a:pt x="212" y="240"/>
                  </a:lnTo>
                  <a:lnTo>
                    <a:pt x="201" y="239"/>
                  </a:lnTo>
                  <a:lnTo>
                    <a:pt x="190" y="237"/>
                  </a:lnTo>
                  <a:lnTo>
                    <a:pt x="180" y="234"/>
                  </a:lnTo>
                  <a:lnTo>
                    <a:pt x="170" y="231"/>
                  </a:lnTo>
                  <a:lnTo>
                    <a:pt x="161" y="226"/>
                  </a:lnTo>
                  <a:lnTo>
                    <a:pt x="151" y="221"/>
                  </a:lnTo>
                  <a:lnTo>
                    <a:pt x="143" y="214"/>
                  </a:lnTo>
                  <a:lnTo>
                    <a:pt x="135" y="208"/>
                  </a:lnTo>
                  <a:lnTo>
                    <a:pt x="128" y="199"/>
                  </a:lnTo>
                  <a:lnTo>
                    <a:pt x="123" y="191"/>
                  </a:lnTo>
                  <a:lnTo>
                    <a:pt x="116" y="182"/>
                  </a:lnTo>
                  <a:lnTo>
                    <a:pt x="112" y="173"/>
                  </a:lnTo>
                  <a:lnTo>
                    <a:pt x="109" y="163"/>
                  </a:lnTo>
                  <a:lnTo>
                    <a:pt x="106" y="153"/>
                  </a:lnTo>
                  <a:lnTo>
                    <a:pt x="105" y="142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5" y="120"/>
                  </a:lnTo>
                  <a:lnTo>
                    <a:pt x="106" y="108"/>
                  </a:lnTo>
                  <a:lnTo>
                    <a:pt x="109" y="99"/>
                  </a:lnTo>
                  <a:lnTo>
                    <a:pt x="112" y="88"/>
                  </a:lnTo>
                  <a:lnTo>
                    <a:pt x="116" y="78"/>
                  </a:lnTo>
                  <a:lnTo>
                    <a:pt x="123" y="70"/>
                  </a:lnTo>
                  <a:lnTo>
                    <a:pt x="128" y="62"/>
                  </a:lnTo>
                  <a:lnTo>
                    <a:pt x="135" y="54"/>
                  </a:lnTo>
                  <a:lnTo>
                    <a:pt x="143" y="47"/>
                  </a:lnTo>
                  <a:lnTo>
                    <a:pt x="151" y="40"/>
                  </a:lnTo>
                  <a:lnTo>
                    <a:pt x="161" y="35"/>
                  </a:lnTo>
                  <a:lnTo>
                    <a:pt x="170" y="31"/>
                  </a:lnTo>
                  <a:lnTo>
                    <a:pt x="180" y="27"/>
                  </a:lnTo>
                  <a:lnTo>
                    <a:pt x="190" y="24"/>
                  </a:lnTo>
                  <a:lnTo>
                    <a:pt x="201" y="22"/>
                  </a:lnTo>
                  <a:lnTo>
                    <a:pt x="212" y="22"/>
                  </a:lnTo>
                  <a:lnTo>
                    <a:pt x="212" y="22"/>
                  </a:lnTo>
                  <a:lnTo>
                    <a:pt x="223" y="22"/>
                  </a:lnTo>
                  <a:lnTo>
                    <a:pt x="234" y="24"/>
                  </a:lnTo>
                  <a:lnTo>
                    <a:pt x="244" y="27"/>
                  </a:lnTo>
                  <a:lnTo>
                    <a:pt x="254" y="31"/>
                  </a:lnTo>
                  <a:lnTo>
                    <a:pt x="263" y="35"/>
                  </a:lnTo>
                  <a:lnTo>
                    <a:pt x="273" y="40"/>
                  </a:lnTo>
                  <a:lnTo>
                    <a:pt x="281" y="47"/>
                  </a:lnTo>
                  <a:lnTo>
                    <a:pt x="289" y="54"/>
                  </a:lnTo>
                  <a:lnTo>
                    <a:pt x="296" y="62"/>
                  </a:lnTo>
                  <a:lnTo>
                    <a:pt x="302" y="70"/>
                  </a:lnTo>
                  <a:lnTo>
                    <a:pt x="308" y="78"/>
                  </a:lnTo>
                  <a:lnTo>
                    <a:pt x="312" y="88"/>
                  </a:lnTo>
                  <a:lnTo>
                    <a:pt x="315" y="99"/>
                  </a:lnTo>
                  <a:lnTo>
                    <a:pt x="318" y="108"/>
                  </a:lnTo>
                  <a:lnTo>
                    <a:pt x="320" y="120"/>
                  </a:lnTo>
                  <a:lnTo>
                    <a:pt x="320" y="130"/>
                  </a:lnTo>
                  <a:lnTo>
                    <a:pt x="320" y="130"/>
                  </a:lnTo>
                  <a:lnTo>
                    <a:pt x="320" y="142"/>
                  </a:lnTo>
                  <a:lnTo>
                    <a:pt x="318" y="153"/>
                  </a:lnTo>
                  <a:lnTo>
                    <a:pt x="315" y="163"/>
                  </a:lnTo>
                  <a:lnTo>
                    <a:pt x="312" y="173"/>
                  </a:lnTo>
                  <a:lnTo>
                    <a:pt x="308" y="182"/>
                  </a:lnTo>
                  <a:lnTo>
                    <a:pt x="302" y="191"/>
                  </a:lnTo>
                  <a:lnTo>
                    <a:pt x="296" y="199"/>
                  </a:lnTo>
                  <a:lnTo>
                    <a:pt x="289" y="208"/>
                  </a:lnTo>
                  <a:lnTo>
                    <a:pt x="281" y="214"/>
                  </a:lnTo>
                  <a:lnTo>
                    <a:pt x="273" y="221"/>
                  </a:lnTo>
                  <a:lnTo>
                    <a:pt x="263" y="226"/>
                  </a:lnTo>
                  <a:lnTo>
                    <a:pt x="254" y="231"/>
                  </a:lnTo>
                  <a:lnTo>
                    <a:pt x="244" y="234"/>
                  </a:lnTo>
                  <a:lnTo>
                    <a:pt x="234" y="237"/>
                  </a:lnTo>
                  <a:lnTo>
                    <a:pt x="223" y="239"/>
                  </a:lnTo>
                  <a:lnTo>
                    <a:pt x="212" y="240"/>
                  </a:lnTo>
                  <a:lnTo>
                    <a:pt x="212" y="24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8D17BC24-9B94-4407-904D-73A1AF74E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24"/>
              <a:ext cx="459" cy="294"/>
            </a:xfrm>
            <a:custGeom>
              <a:avLst/>
              <a:gdLst>
                <a:gd name="T0" fmla="*/ 459 w 459"/>
                <a:gd name="T1" fmla="*/ 294 h 294"/>
                <a:gd name="T2" fmla="*/ 0 w 459"/>
                <a:gd name="T3" fmla="*/ 294 h 294"/>
                <a:gd name="T4" fmla="*/ 0 w 459"/>
                <a:gd name="T5" fmla="*/ 0 h 294"/>
                <a:gd name="T6" fmla="*/ 33 w 459"/>
                <a:gd name="T7" fmla="*/ 0 h 294"/>
                <a:gd name="T8" fmla="*/ 33 w 459"/>
                <a:gd name="T9" fmla="*/ 261 h 294"/>
                <a:gd name="T10" fmla="*/ 459 w 459"/>
                <a:gd name="T11" fmla="*/ 261 h 294"/>
                <a:gd name="T12" fmla="*/ 459 w 459"/>
                <a:gd name="T13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9" h="294">
                  <a:moveTo>
                    <a:pt x="459" y="294"/>
                  </a:moveTo>
                  <a:lnTo>
                    <a:pt x="0" y="294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261"/>
                  </a:lnTo>
                  <a:lnTo>
                    <a:pt x="459" y="261"/>
                  </a:lnTo>
                  <a:lnTo>
                    <a:pt x="459" y="29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E9223429-1DAF-4922-B57A-A387CB7DE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0" y="2063"/>
              <a:ext cx="75" cy="142"/>
            </a:xfrm>
            <a:custGeom>
              <a:avLst/>
              <a:gdLst>
                <a:gd name="T0" fmla="*/ 34 w 75"/>
                <a:gd name="T1" fmla="*/ 128 h 142"/>
                <a:gd name="T2" fmla="*/ 25 w 75"/>
                <a:gd name="T3" fmla="*/ 126 h 142"/>
                <a:gd name="T4" fmla="*/ 17 w 75"/>
                <a:gd name="T5" fmla="*/ 122 h 142"/>
                <a:gd name="T6" fmla="*/ 6 w 75"/>
                <a:gd name="T7" fmla="*/ 112 h 142"/>
                <a:gd name="T8" fmla="*/ 3 w 75"/>
                <a:gd name="T9" fmla="*/ 103 h 142"/>
                <a:gd name="T10" fmla="*/ 14 w 75"/>
                <a:gd name="T11" fmla="*/ 91 h 142"/>
                <a:gd name="T12" fmla="*/ 16 w 75"/>
                <a:gd name="T13" fmla="*/ 100 h 142"/>
                <a:gd name="T14" fmla="*/ 21 w 75"/>
                <a:gd name="T15" fmla="*/ 108 h 142"/>
                <a:gd name="T16" fmla="*/ 27 w 75"/>
                <a:gd name="T17" fmla="*/ 113 h 142"/>
                <a:gd name="T18" fmla="*/ 34 w 75"/>
                <a:gd name="T19" fmla="*/ 115 h 142"/>
                <a:gd name="T20" fmla="*/ 34 w 75"/>
                <a:gd name="T21" fmla="*/ 70 h 142"/>
                <a:gd name="T22" fmla="*/ 16 w 75"/>
                <a:gd name="T23" fmla="*/ 64 h 142"/>
                <a:gd name="T24" fmla="*/ 11 w 75"/>
                <a:gd name="T25" fmla="*/ 60 h 142"/>
                <a:gd name="T26" fmla="*/ 7 w 75"/>
                <a:gd name="T27" fmla="*/ 53 h 142"/>
                <a:gd name="T28" fmla="*/ 3 w 75"/>
                <a:gd name="T29" fmla="*/ 39 h 142"/>
                <a:gd name="T30" fmla="*/ 4 w 75"/>
                <a:gd name="T31" fmla="*/ 31 h 142"/>
                <a:gd name="T32" fmla="*/ 9 w 75"/>
                <a:gd name="T33" fmla="*/ 20 h 142"/>
                <a:gd name="T34" fmla="*/ 13 w 75"/>
                <a:gd name="T35" fmla="*/ 14 h 142"/>
                <a:gd name="T36" fmla="*/ 22 w 75"/>
                <a:gd name="T37" fmla="*/ 10 h 142"/>
                <a:gd name="T38" fmla="*/ 34 w 75"/>
                <a:gd name="T39" fmla="*/ 7 h 142"/>
                <a:gd name="T40" fmla="*/ 43 w 75"/>
                <a:gd name="T41" fmla="*/ 0 h 142"/>
                <a:gd name="T42" fmla="*/ 43 w 75"/>
                <a:gd name="T43" fmla="*/ 7 h 142"/>
                <a:gd name="T44" fmla="*/ 53 w 75"/>
                <a:gd name="T45" fmla="*/ 9 h 142"/>
                <a:gd name="T46" fmla="*/ 62 w 75"/>
                <a:gd name="T47" fmla="*/ 14 h 142"/>
                <a:gd name="T48" fmla="*/ 66 w 75"/>
                <a:gd name="T49" fmla="*/ 18 h 142"/>
                <a:gd name="T50" fmla="*/ 71 w 75"/>
                <a:gd name="T51" fmla="*/ 29 h 142"/>
                <a:gd name="T52" fmla="*/ 59 w 75"/>
                <a:gd name="T53" fmla="*/ 38 h 142"/>
                <a:gd name="T54" fmla="*/ 56 w 75"/>
                <a:gd name="T55" fmla="*/ 30 h 142"/>
                <a:gd name="T56" fmla="*/ 53 w 75"/>
                <a:gd name="T57" fmla="*/ 25 h 142"/>
                <a:gd name="T58" fmla="*/ 43 w 75"/>
                <a:gd name="T59" fmla="*/ 18 h 142"/>
                <a:gd name="T60" fmla="*/ 43 w 75"/>
                <a:gd name="T61" fmla="*/ 59 h 142"/>
                <a:gd name="T62" fmla="*/ 56 w 75"/>
                <a:gd name="T63" fmla="*/ 63 h 142"/>
                <a:gd name="T64" fmla="*/ 67 w 75"/>
                <a:gd name="T65" fmla="*/ 70 h 142"/>
                <a:gd name="T66" fmla="*/ 71 w 75"/>
                <a:gd name="T67" fmla="*/ 75 h 142"/>
                <a:gd name="T68" fmla="*/ 73 w 75"/>
                <a:gd name="T69" fmla="*/ 80 h 142"/>
                <a:gd name="T70" fmla="*/ 75 w 75"/>
                <a:gd name="T71" fmla="*/ 93 h 142"/>
                <a:gd name="T72" fmla="*/ 75 w 75"/>
                <a:gd name="T73" fmla="*/ 99 h 142"/>
                <a:gd name="T74" fmla="*/ 70 w 75"/>
                <a:gd name="T75" fmla="*/ 112 h 142"/>
                <a:gd name="T76" fmla="*/ 66 w 75"/>
                <a:gd name="T77" fmla="*/ 117 h 142"/>
                <a:gd name="T78" fmla="*/ 55 w 75"/>
                <a:gd name="T79" fmla="*/ 125 h 142"/>
                <a:gd name="T80" fmla="*/ 43 w 75"/>
                <a:gd name="T81" fmla="*/ 127 h 142"/>
                <a:gd name="T82" fmla="*/ 34 w 75"/>
                <a:gd name="T83" fmla="*/ 142 h 142"/>
                <a:gd name="T84" fmla="*/ 34 w 75"/>
                <a:gd name="T85" fmla="*/ 18 h 142"/>
                <a:gd name="T86" fmla="*/ 24 w 75"/>
                <a:gd name="T87" fmla="*/ 23 h 142"/>
                <a:gd name="T88" fmla="*/ 22 w 75"/>
                <a:gd name="T89" fmla="*/ 25 h 142"/>
                <a:gd name="T90" fmla="*/ 16 w 75"/>
                <a:gd name="T91" fmla="*/ 38 h 142"/>
                <a:gd name="T92" fmla="*/ 17 w 75"/>
                <a:gd name="T93" fmla="*/ 44 h 142"/>
                <a:gd name="T94" fmla="*/ 21 w 75"/>
                <a:gd name="T95" fmla="*/ 49 h 142"/>
                <a:gd name="T96" fmla="*/ 34 w 75"/>
                <a:gd name="T97" fmla="*/ 58 h 142"/>
                <a:gd name="T98" fmla="*/ 43 w 75"/>
                <a:gd name="T99" fmla="*/ 115 h 142"/>
                <a:gd name="T100" fmla="*/ 46 w 75"/>
                <a:gd name="T101" fmla="*/ 115 h 142"/>
                <a:gd name="T102" fmla="*/ 53 w 75"/>
                <a:gd name="T103" fmla="*/ 111 h 142"/>
                <a:gd name="T104" fmla="*/ 56 w 75"/>
                <a:gd name="T105" fmla="*/ 109 h 142"/>
                <a:gd name="T106" fmla="*/ 60 w 75"/>
                <a:gd name="T107" fmla="*/ 101 h 142"/>
                <a:gd name="T108" fmla="*/ 62 w 75"/>
                <a:gd name="T109" fmla="*/ 94 h 142"/>
                <a:gd name="T110" fmla="*/ 61 w 75"/>
                <a:gd name="T111" fmla="*/ 86 h 142"/>
                <a:gd name="T112" fmla="*/ 58 w 75"/>
                <a:gd name="T113" fmla="*/ 81 h 142"/>
                <a:gd name="T114" fmla="*/ 52 w 75"/>
                <a:gd name="T115" fmla="*/ 77 h 142"/>
                <a:gd name="T116" fmla="*/ 43 w 75"/>
                <a:gd name="T117" fmla="*/ 11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142">
                  <a:moveTo>
                    <a:pt x="34" y="142"/>
                  </a:moveTo>
                  <a:lnTo>
                    <a:pt x="34" y="128"/>
                  </a:lnTo>
                  <a:lnTo>
                    <a:pt x="34" y="128"/>
                  </a:lnTo>
                  <a:lnTo>
                    <a:pt x="25" y="126"/>
                  </a:lnTo>
                  <a:lnTo>
                    <a:pt x="17" y="122"/>
                  </a:lnTo>
                  <a:lnTo>
                    <a:pt x="17" y="122"/>
                  </a:lnTo>
                  <a:lnTo>
                    <a:pt x="11" y="118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3" y="103"/>
                  </a:lnTo>
                  <a:lnTo>
                    <a:pt x="0" y="93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6" y="10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4" y="111"/>
                  </a:lnTo>
                  <a:lnTo>
                    <a:pt x="27" y="113"/>
                  </a:lnTo>
                  <a:lnTo>
                    <a:pt x="30" y="115"/>
                  </a:lnTo>
                  <a:lnTo>
                    <a:pt x="34" y="115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2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1" y="60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4" y="47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1"/>
                  </a:lnTo>
                  <a:lnTo>
                    <a:pt x="6" y="25"/>
                  </a:lnTo>
                  <a:lnTo>
                    <a:pt x="9" y="20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7" y="12"/>
                  </a:lnTo>
                  <a:lnTo>
                    <a:pt x="22" y="10"/>
                  </a:lnTo>
                  <a:lnTo>
                    <a:pt x="28" y="8"/>
                  </a:lnTo>
                  <a:lnTo>
                    <a:pt x="34" y="7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8" y="8"/>
                  </a:lnTo>
                  <a:lnTo>
                    <a:pt x="53" y="9"/>
                  </a:lnTo>
                  <a:lnTo>
                    <a:pt x="58" y="11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6" y="18"/>
                  </a:lnTo>
                  <a:lnTo>
                    <a:pt x="69" y="23"/>
                  </a:lnTo>
                  <a:lnTo>
                    <a:pt x="71" y="29"/>
                  </a:lnTo>
                  <a:lnTo>
                    <a:pt x="73" y="35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6" y="30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49" y="21"/>
                  </a:lnTo>
                  <a:lnTo>
                    <a:pt x="43" y="18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3" y="66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71" y="75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5" y="86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9"/>
                  </a:lnTo>
                  <a:lnTo>
                    <a:pt x="73" y="105"/>
                  </a:lnTo>
                  <a:lnTo>
                    <a:pt x="70" y="112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2" y="121"/>
                  </a:lnTo>
                  <a:lnTo>
                    <a:pt x="55" y="125"/>
                  </a:lnTo>
                  <a:lnTo>
                    <a:pt x="49" y="127"/>
                  </a:lnTo>
                  <a:lnTo>
                    <a:pt x="43" y="127"/>
                  </a:lnTo>
                  <a:lnTo>
                    <a:pt x="43" y="142"/>
                  </a:lnTo>
                  <a:lnTo>
                    <a:pt x="34" y="142"/>
                  </a:lnTo>
                  <a:close/>
                  <a:moveTo>
                    <a:pt x="34" y="18"/>
                  </a:moveTo>
                  <a:lnTo>
                    <a:pt x="34" y="18"/>
                  </a:lnTo>
                  <a:lnTo>
                    <a:pt x="27" y="21"/>
                  </a:lnTo>
                  <a:lnTo>
                    <a:pt x="24" y="23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18" y="3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44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4" y="58"/>
                  </a:lnTo>
                  <a:lnTo>
                    <a:pt x="34" y="18"/>
                  </a:lnTo>
                  <a:close/>
                  <a:moveTo>
                    <a:pt x="43" y="115"/>
                  </a:moveTo>
                  <a:lnTo>
                    <a:pt x="43" y="115"/>
                  </a:lnTo>
                  <a:lnTo>
                    <a:pt x="46" y="115"/>
                  </a:lnTo>
                  <a:lnTo>
                    <a:pt x="50" y="113"/>
                  </a:lnTo>
                  <a:lnTo>
                    <a:pt x="53" y="111"/>
                  </a:lnTo>
                  <a:lnTo>
                    <a:pt x="56" y="109"/>
                  </a:lnTo>
                  <a:lnTo>
                    <a:pt x="56" y="109"/>
                  </a:lnTo>
                  <a:lnTo>
                    <a:pt x="59" y="105"/>
                  </a:lnTo>
                  <a:lnTo>
                    <a:pt x="60" y="101"/>
                  </a:lnTo>
                  <a:lnTo>
                    <a:pt x="61" y="98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1" y="86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5" y="79"/>
                  </a:lnTo>
                  <a:lnTo>
                    <a:pt x="52" y="77"/>
                  </a:lnTo>
                  <a:lnTo>
                    <a:pt x="43" y="73"/>
                  </a:lnTo>
                  <a:lnTo>
                    <a:pt x="43" y="11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4" name="TextBox 53"/>
          <p:cNvSpPr txBox="1"/>
          <p:nvPr/>
        </p:nvSpPr>
        <p:spPr bwMode="gray">
          <a:xfrm>
            <a:off x="4467292" y="2607531"/>
            <a:ext cx="2581208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rgbClr val="002060"/>
                </a:solidFill>
              </a:rPr>
              <a:t>Coberturas</a:t>
            </a:r>
            <a:r>
              <a:rPr lang="en-GB" sz="1600" b="1" dirty="0" smtClean="0">
                <a:solidFill>
                  <a:srgbClr val="002060"/>
                </a:solidFill>
              </a:rPr>
              <a:t> de Reaseguro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dirty="0" err="1" smtClean="0">
                <a:solidFill>
                  <a:srgbClr val="002060"/>
                </a:solidFill>
              </a:rPr>
              <a:t>Más</a:t>
            </a:r>
            <a:r>
              <a:rPr lang="en-GB" sz="1200" dirty="0" smtClean="0">
                <a:solidFill>
                  <a:srgbClr val="002060"/>
                </a:solidFill>
              </a:rPr>
              <a:t>, </a:t>
            </a:r>
            <a:r>
              <a:rPr lang="en-GB" sz="1200" dirty="0" err="1" smtClean="0">
                <a:solidFill>
                  <a:srgbClr val="002060"/>
                </a:solidFill>
              </a:rPr>
              <a:t>mejores</a:t>
            </a:r>
            <a:r>
              <a:rPr lang="en-GB" sz="1200" dirty="0" smtClean="0">
                <a:solidFill>
                  <a:srgbClr val="002060"/>
                </a:solidFill>
              </a:rPr>
              <a:t> y </a:t>
            </a:r>
            <a:r>
              <a:rPr lang="en-GB" sz="1200" dirty="0" err="1" smtClean="0">
                <a:solidFill>
                  <a:srgbClr val="002060"/>
                </a:solidFill>
              </a:rPr>
              <a:t>adaptables</a:t>
            </a:r>
            <a:endParaRPr lang="en-GB" sz="1200" dirty="0" smtClean="0">
              <a:solidFill>
                <a:srgbClr val="00206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 bwMode="gray">
          <a:xfrm>
            <a:off x="6255522" y="4407939"/>
            <a:ext cx="2172729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rgbClr val="002060"/>
                </a:solidFill>
              </a:rPr>
              <a:t>Soluciones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0BB9E5A-145D-450F-9262-151A92185A62}"/>
              </a:ext>
            </a:extLst>
          </p:cNvPr>
          <p:cNvGrpSpPr/>
          <p:nvPr/>
        </p:nvGrpSpPr>
        <p:grpSpPr>
          <a:xfrm>
            <a:off x="4111186" y="5069746"/>
            <a:ext cx="2707703" cy="931047"/>
            <a:chOff x="3289830" y="2861494"/>
            <a:chExt cx="2663825" cy="1001505"/>
          </a:xfrm>
        </p:grpSpPr>
        <p:sp>
          <p:nvSpPr>
            <p:cNvPr id="57" name="Rechteck 22">
              <a:extLst>
                <a:ext uri="{FF2B5EF4-FFF2-40B4-BE49-F238E27FC236}">
                  <a16:creationId xmlns:a16="http://schemas.microsoft.com/office/drawing/2014/main" id="{87E008F7-EC4D-44D4-8B54-0CB2B830F8E7}"/>
                </a:ext>
              </a:extLst>
            </p:cNvPr>
            <p:cNvSpPr/>
            <p:nvPr/>
          </p:nvSpPr>
          <p:spPr bwMode="gray">
            <a:xfrm>
              <a:off x="3289830" y="2861494"/>
              <a:ext cx="2663825" cy="86651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n-GB" sz="1200" b="1" dirty="0" err="1" smtClean="0">
                  <a:solidFill>
                    <a:schemeClr val="bg1"/>
                  </a:solidFill>
                </a:rPr>
                <a:t>Más</a:t>
              </a:r>
              <a:r>
                <a:rPr lang="en-GB" sz="1200" b="1" dirty="0" smtClean="0">
                  <a:solidFill>
                    <a:schemeClr val="bg1"/>
                  </a:solidFill>
                </a:rPr>
                <a:t> </a:t>
              </a:r>
              <a:r>
                <a:rPr lang="en-GB" sz="1200" b="1" dirty="0" err="1" smtClean="0">
                  <a:solidFill>
                    <a:schemeClr val="bg1"/>
                  </a:solidFill>
                </a:rPr>
                <a:t>conceptos</a:t>
              </a:r>
              <a:r>
                <a:rPr lang="en-GB" sz="1200" b="1" dirty="0" smtClean="0">
                  <a:solidFill>
                    <a:schemeClr val="bg1"/>
                  </a:solidFill>
                </a:rPr>
                <a:t>, </a:t>
              </a:r>
              <a:r>
                <a:rPr lang="en-GB" sz="1200" b="1" dirty="0" err="1" smtClean="0">
                  <a:solidFill>
                    <a:schemeClr val="bg1"/>
                  </a:solidFill>
                </a:rPr>
                <a:t>mejores</a:t>
              </a:r>
              <a:r>
                <a:rPr lang="en-GB" sz="1200" b="1" dirty="0" smtClean="0">
                  <a:solidFill>
                    <a:schemeClr val="bg1"/>
                  </a:solidFill>
                </a:rPr>
                <a:t> </a:t>
              </a:r>
              <a:r>
                <a:rPr lang="en-GB" sz="1200" b="1" dirty="0" err="1" smtClean="0">
                  <a:solidFill>
                    <a:schemeClr val="bg1"/>
                  </a:solidFill>
                </a:rPr>
                <a:t>procesos</a:t>
              </a:r>
              <a:r>
                <a:rPr lang="en-GB" sz="1200" b="1" dirty="0" smtClean="0">
                  <a:solidFill>
                    <a:schemeClr val="bg1"/>
                  </a:solidFill>
                </a:rPr>
                <a:t> &amp; </a:t>
              </a:r>
              <a:r>
                <a:rPr lang="en-GB" sz="1200" b="1" dirty="0" err="1" smtClean="0">
                  <a:solidFill>
                    <a:schemeClr val="bg1"/>
                  </a:solidFill>
                </a:rPr>
                <a:t>más</a:t>
              </a:r>
              <a:r>
                <a:rPr lang="en-GB" sz="1200" b="1" dirty="0" smtClean="0">
                  <a:solidFill>
                    <a:schemeClr val="bg1"/>
                  </a:solidFill>
                </a:rPr>
                <a:t> </a:t>
              </a:r>
              <a:r>
                <a:rPr lang="en-GB" sz="1200" b="1" dirty="0" err="1" smtClean="0">
                  <a:solidFill>
                    <a:schemeClr val="bg1"/>
                  </a:solidFill>
                </a:rPr>
                <a:t>estrategias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Freihandform: Form 47">
              <a:extLst>
                <a:ext uri="{FF2B5EF4-FFF2-40B4-BE49-F238E27FC236}">
                  <a16:creationId xmlns:a16="http://schemas.microsoft.com/office/drawing/2014/main" id="{01AB93DA-3743-4011-8D0F-E3C0FBEC2AE4}"/>
                </a:ext>
              </a:extLst>
            </p:cNvPr>
            <p:cNvSpPr/>
            <p:nvPr/>
          </p:nvSpPr>
          <p:spPr bwMode="gray">
            <a:xfrm>
              <a:off x="3949115" y="3728008"/>
              <a:ext cx="737026" cy="134991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05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60" name="Group 59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62" name="Rectangle 61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  <a:t/>
                </a:r>
                <a:b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63" name="Picture 6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64" name="Straight Connector 63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5125698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750551" cy="6490010"/>
            <a:chOff x="1" y="0"/>
            <a:chExt cx="6074407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1" y="0"/>
              <a:ext cx="6074407" cy="6490010"/>
              <a:chOff x="0" y="0"/>
              <a:chExt cx="9654403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0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60139" y="5142986"/>
                <a:ext cx="11316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58410" y="1008715"/>
              <a:ext cx="2063130" cy="17803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Objetivos</a:t>
              </a:r>
              <a:r>
                <a:rPr lang="en-GB" sz="1600" dirty="0" smtClean="0">
                  <a:solidFill>
                    <a:srgbClr val="002060"/>
                  </a:solidFill>
                </a:rPr>
                <a:t> de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Negoci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" y="0"/>
            <a:ext cx="8591548" cy="6490010"/>
            <a:chOff x="1" y="0"/>
            <a:chExt cx="4865529" cy="6490010"/>
          </a:xfrm>
        </p:grpSpPr>
        <p:grpSp>
          <p:nvGrpSpPr>
            <p:cNvPr id="7" name="Group 6"/>
            <p:cNvGrpSpPr/>
            <p:nvPr/>
          </p:nvGrpSpPr>
          <p:grpSpPr>
            <a:xfrm>
              <a:off x="1" y="0"/>
              <a:ext cx="4865529" cy="6490010"/>
              <a:chOff x="1" y="0"/>
              <a:chExt cx="9709386" cy="649001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8" name="Rectangle 7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9" name="Isosceles Triangle 8"/>
              <p:cNvSpPr/>
              <p:nvPr/>
            </p:nvSpPr>
            <p:spPr bwMode="gray">
              <a:xfrm rot="5400000">
                <a:off x="8888335" y="4258951"/>
                <a:ext cx="1143623" cy="498480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 bwMode="gray">
            <a:xfrm rot="16200000">
              <a:off x="3406795" y="1024988"/>
              <a:ext cx="2063130" cy="14548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Desmpeño</a:t>
              </a:r>
              <a:r>
                <a:rPr lang="en-GB" sz="1600" dirty="0" smtClean="0">
                  <a:solidFill>
                    <a:srgbClr val="002060"/>
                  </a:solidFill>
                </a:rPr>
                <a:t>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Financier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-1" y="0"/>
            <a:ext cx="7524751" cy="6490010"/>
            <a:chOff x="-1" y="0"/>
            <a:chExt cx="3993033" cy="6490010"/>
          </a:xfrm>
        </p:grpSpPr>
        <p:grpSp>
          <p:nvGrpSpPr>
            <p:cNvPr id="10" name="Group 9"/>
            <p:cNvGrpSpPr/>
            <p:nvPr/>
          </p:nvGrpSpPr>
          <p:grpSpPr>
            <a:xfrm>
              <a:off x="-1" y="0"/>
              <a:ext cx="3993033" cy="6490010"/>
              <a:chOff x="1" y="0"/>
              <a:chExt cx="9752222" cy="6490010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" name="Rectangle 10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2" name="Isosceles Triangle 11"/>
              <p:cNvSpPr/>
              <p:nvPr/>
            </p:nvSpPr>
            <p:spPr bwMode="gray">
              <a:xfrm rot="5400000">
                <a:off x="8920287" y="2978064"/>
                <a:ext cx="1122556" cy="541316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 bwMode="gray">
            <a:xfrm rot="16200000">
              <a:off x="2560407" y="1023241"/>
              <a:ext cx="2063130" cy="14897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Recursos</a:t>
              </a:r>
              <a:r>
                <a:rPr lang="en-GB" sz="1600" dirty="0" smtClean="0">
                  <a:solidFill>
                    <a:srgbClr val="002060"/>
                  </a:solidFill>
                </a:rPr>
                <a:t>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Financieros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¿</a:t>
            </a:r>
            <a:r>
              <a:rPr lang="en-GB" dirty="0" err="1" smtClean="0">
                <a:solidFill>
                  <a:schemeClr val="bg1"/>
                </a:solidFill>
              </a:rPr>
              <a:t>Qué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vamos</a:t>
            </a:r>
            <a:r>
              <a:rPr lang="en-GB" dirty="0" smtClean="0">
                <a:solidFill>
                  <a:schemeClr val="bg1"/>
                </a:solidFill>
              </a:rPr>
              <a:t> a </a:t>
            </a:r>
            <a:r>
              <a:rPr lang="en-GB" dirty="0" err="1" smtClean="0">
                <a:solidFill>
                  <a:schemeClr val="bg1"/>
                </a:solidFill>
              </a:rPr>
              <a:t>hacer</a:t>
            </a:r>
            <a:r>
              <a:rPr lang="en-GB" dirty="0" smtClean="0">
                <a:solidFill>
                  <a:schemeClr val="bg1"/>
                </a:solidFill>
              </a:rPr>
              <a:t>?</a:t>
            </a:r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Human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EC004594-7C0B-467E-9DC8-29B4D61BB1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84573" y="4266572"/>
            <a:ext cx="762000" cy="1036638"/>
            <a:chOff x="3601" y="1834"/>
            <a:chExt cx="480" cy="653"/>
          </a:xfrm>
          <a:solidFill>
            <a:schemeClr val="accent2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D47EB018-45B0-48F2-A039-1516F08BAE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834"/>
              <a:ext cx="480" cy="653"/>
            </a:xfrm>
            <a:custGeom>
              <a:avLst/>
              <a:gdLst>
                <a:gd name="T0" fmla="*/ 0 w 480"/>
                <a:gd name="T1" fmla="*/ 0 h 653"/>
                <a:gd name="T2" fmla="*/ 0 w 480"/>
                <a:gd name="T3" fmla="*/ 653 h 653"/>
                <a:gd name="T4" fmla="*/ 480 w 480"/>
                <a:gd name="T5" fmla="*/ 653 h 653"/>
                <a:gd name="T6" fmla="*/ 480 w 480"/>
                <a:gd name="T7" fmla="*/ 0 h 653"/>
                <a:gd name="T8" fmla="*/ 0 w 480"/>
                <a:gd name="T9" fmla="*/ 0 h 653"/>
                <a:gd name="T10" fmla="*/ 435 w 480"/>
                <a:gd name="T11" fmla="*/ 608 h 653"/>
                <a:gd name="T12" fmla="*/ 45 w 480"/>
                <a:gd name="T13" fmla="*/ 608 h 653"/>
                <a:gd name="T14" fmla="*/ 45 w 480"/>
                <a:gd name="T15" fmla="*/ 45 h 653"/>
                <a:gd name="T16" fmla="*/ 290 w 480"/>
                <a:gd name="T17" fmla="*/ 45 h 653"/>
                <a:gd name="T18" fmla="*/ 290 w 480"/>
                <a:gd name="T19" fmla="*/ 206 h 653"/>
                <a:gd name="T20" fmla="*/ 339 w 480"/>
                <a:gd name="T21" fmla="*/ 148 h 653"/>
                <a:gd name="T22" fmla="*/ 389 w 480"/>
                <a:gd name="T23" fmla="*/ 206 h 653"/>
                <a:gd name="T24" fmla="*/ 389 w 480"/>
                <a:gd name="T25" fmla="*/ 45 h 653"/>
                <a:gd name="T26" fmla="*/ 435 w 480"/>
                <a:gd name="T27" fmla="*/ 45 h 653"/>
                <a:gd name="T28" fmla="*/ 435 w 480"/>
                <a:gd name="T29" fmla="*/ 608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0" h="653">
                  <a:moveTo>
                    <a:pt x="0" y="0"/>
                  </a:moveTo>
                  <a:lnTo>
                    <a:pt x="0" y="653"/>
                  </a:lnTo>
                  <a:lnTo>
                    <a:pt x="480" y="653"/>
                  </a:lnTo>
                  <a:lnTo>
                    <a:pt x="480" y="0"/>
                  </a:lnTo>
                  <a:lnTo>
                    <a:pt x="0" y="0"/>
                  </a:lnTo>
                  <a:close/>
                  <a:moveTo>
                    <a:pt x="435" y="608"/>
                  </a:moveTo>
                  <a:lnTo>
                    <a:pt x="45" y="608"/>
                  </a:lnTo>
                  <a:lnTo>
                    <a:pt x="45" y="45"/>
                  </a:lnTo>
                  <a:lnTo>
                    <a:pt x="290" y="45"/>
                  </a:lnTo>
                  <a:lnTo>
                    <a:pt x="290" y="206"/>
                  </a:lnTo>
                  <a:lnTo>
                    <a:pt x="339" y="148"/>
                  </a:lnTo>
                  <a:lnTo>
                    <a:pt x="389" y="206"/>
                  </a:lnTo>
                  <a:lnTo>
                    <a:pt x="389" y="45"/>
                  </a:lnTo>
                  <a:lnTo>
                    <a:pt x="435" y="45"/>
                  </a:lnTo>
                  <a:lnTo>
                    <a:pt x="435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DD47C7C-7A67-45F5-93C9-D6AC0906E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142"/>
              <a:ext cx="296" cy="0"/>
            </a:xfrm>
            <a:custGeom>
              <a:avLst/>
              <a:gdLst>
                <a:gd name="T0" fmla="*/ 0 w 296"/>
                <a:gd name="T1" fmla="*/ 296 w 296"/>
                <a:gd name="T2" fmla="*/ 0 w 2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6">
                  <a:moveTo>
                    <a:pt x="0" y="0"/>
                  </a:moveTo>
                  <a:lnTo>
                    <a:pt x="29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Line 7">
              <a:extLst>
                <a:ext uri="{FF2B5EF4-FFF2-40B4-BE49-F238E27FC236}">
                  <a16:creationId xmlns:a16="http://schemas.microsoft.com/office/drawing/2014/main" id="{B7D29546-A927-46EE-B371-6CB7ED38B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4" y="2142"/>
              <a:ext cx="296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Rectangle 8">
              <a:extLst>
                <a:ext uri="{FF2B5EF4-FFF2-40B4-BE49-F238E27FC236}">
                  <a16:creationId xmlns:a16="http://schemas.microsoft.com/office/drawing/2014/main" id="{05253326-F819-46E8-9D50-74852331E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134"/>
              <a:ext cx="296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1A7F638A-FC5E-4E39-9FFB-522D66C4A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235"/>
              <a:ext cx="296" cy="0"/>
            </a:xfrm>
            <a:custGeom>
              <a:avLst/>
              <a:gdLst>
                <a:gd name="T0" fmla="*/ 0 w 296"/>
                <a:gd name="T1" fmla="*/ 296 w 296"/>
                <a:gd name="T2" fmla="*/ 0 w 2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6">
                  <a:moveTo>
                    <a:pt x="0" y="0"/>
                  </a:moveTo>
                  <a:lnTo>
                    <a:pt x="29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Line 10">
              <a:extLst>
                <a:ext uri="{FF2B5EF4-FFF2-40B4-BE49-F238E27FC236}">
                  <a16:creationId xmlns:a16="http://schemas.microsoft.com/office/drawing/2014/main" id="{17E825A8-3D73-40E4-824A-1BC213B526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4" y="2235"/>
              <a:ext cx="296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3DD2C63F-8F79-4834-AEE3-8C11E161EE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226"/>
              <a:ext cx="296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75A37FFA-1539-4C89-A249-EBC4E4519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327"/>
              <a:ext cx="296" cy="0"/>
            </a:xfrm>
            <a:custGeom>
              <a:avLst/>
              <a:gdLst>
                <a:gd name="T0" fmla="*/ 0 w 296"/>
                <a:gd name="T1" fmla="*/ 296 w 296"/>
                <a:gd name="T2" fmla="*/ 0 w 2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6">
                  <a:moveTo>
                    <a:pt x="0" y="0"/>
                  </a:moveTo>
                  <a:lnTo>
                    <a:pt x="29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Line 13">
              <a:extLst>
                <a:ext uri="{FF2B5EF4-FFF2-40B4-BE49-F238E27FC236}">
                  <a16:creationId xmlns:a16="http://schemas.microsoft.com/office/drawing/2014/main" id="{73F4838F-D412-40DA-815D-A99131F20A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4" y="2327"/>
              <a:ext cx="296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Rectangle 14">
              <a:extLst>
                <a:ext uri="{FF2B5EF4-FFF2-40B4-BE49-F238E27FC236}">
                  <a16:creationId xmlns:a16="http://schemas.microsoft.com/office/drawing/2014/main" id="{215425D9-175E-456F-A466-68EA37B85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318"/>
              <a:ext cx="29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0" name="Freeform 5">
            <a:extLst>
              <a:ext uri="{FF2B5EF4-FFF2-40B4-BE49-F238E27FC236}">
                <a16:creationId xmlns:a16="http://schemas.microsoft.com/office/drawing/2014/main" id="{74E4C848-66B0-49D4-8C9E-A176895BF3E3}"/>
              </a:ext>
            </a:extLst>
          </p:cNvPr>
          <p:cNvSpPr>
            <a:spLocks noEditPoints="1"/>
          </p:cNvSpPr>
          <p:nvPr/>
        </p:nvSpPr>
        <p:spPr bwMode="auto">
          <a:xfrm>
            <a:off x="4758966" y="2021230"/>
            <a:ext cx="953490" cy="856021"/>
          </a:xfrm>
          <a:custGeom>
            <a:avLst/>
            <a:gdLst>
              <a:gd name="T0" fmla="*/ 147 w 480"/>
              <a:gd name="T1" fmla="*/ 18 h 477"/>
              <a:gd name="T2" fmla="*/ 41 w 480"/>
              <a:gd name="T3" fmla="*/ 105 h 477"/>
              <a:gd name="T4" fmla="*/ 0 w 480"/>
              <a:gd name="T5" fmla="*/ 238 h 477"/>
              <a:gd name="T6" fmla="*/ 29 w 480"/>
              <a:gd name="T7" fmla="*/ 352 h 477"/>
              <a:gd name="T8" fmla="*/ 126 w 480"/>
              <a:gd name="T9" fmla="*/ 449 h 477"/>
              <a:gd name="T10" fmla="*/ 240 w 480"/>
              <a:gd name="T11" fmla="*/ 477 h 477"/>
              <a:gd name="T12" fmla="*/ 373 w 480"/>
              <a:gd name="T13" fmla="*/ 436 h 477"/>
              <a:gd name="T14" fmla="*/ 461 w 480"/>
              <a:gd name="T15" fmla="*/ 331 h 477"/>
              <a:gd name="T16" fmla="*/ 478 w 480"/>
              <a:gd name="T17" fmla="*/ 214 h 477"/>
              <a:gd name="T18" fmla="*/ 425 w 480"/>
              <a:gd name="T19" fmla="*/ 86 h 477"/>
              <a:gd name="T20" fmla="*/ 311 w 480"/>
              <a:gd name="T21" fmla="*/ 11 h 477"/>
              <a:gd name="T22" fmla="*/ 229 w 480"/>
              <a:gd name="T23" fmla="*/ 111 h 477"/>
              <a:gd name="T24" fmla="*/ 164 w 480"/>
              <a:gd name="T25" fmla="*/ 86 h 477"/>
              <a:gd name="T26" fmla="*/ 219 w 480"/>
              <a:gd name="T27" fmla="*/ 25 h 477"/>
              <a:gd name="T28" fmla="*/ 133 w 480"/>
              <a:gd name="T29" fmla="*/ 227 h 477"/>
              <a:gd name="T30" fmla="*/ 169 w 480"/>
              <a:gd name="T31" fmla="*/ 126 h 477"/>
              <a:gd name="T32" fmla="*/ 229 w 480"/>
              <a:gd name="T33" fmla="*/ 344 h 477"/>
              <a:gd name="T34" fmla="*/ 149 w 480"/>
              <a:gd name="T35" fmla="*/ 354 h 477"/>
              <a:gd name="T36" fmla="*/ 229 w 480"/>
              <a:gd name="T37" fmla="*/ 365 h 477"/>
              <a:gd name="T38" fmla="*/ 188 w 480"/>
              <a:gd name="T39" fmla="*/ 429 h 477"/>
              <a:gd name="T40" fmla="*/ 174 w 480"/>
              <a:gd name="T41" fmla="*/ 371 h 477"/>
              <a:gd name="T42" fmla="*/ 251 w 480"/>
              <a:gd name="T43" fmla="*/ 365 h 477"/>
              <a:gd name="T44" fmla="*/ 316 w 480"/>
              <a:gd name="T45" fmla="*/ 390 h 477"/>
              <a:gd name="T46" fmla="*/ 261 w 480"/>
              <a:gd name="T47" fmla="*/ 452 h 477"/>
              <a:gd name="T48" fmla="*/ 347 w 480"/>
              <a:gd name="T49" fmla="*/ 249 h 477"/>
              <a:gd name="T50" fmla="*/ 311 w 480"/>
              <a:gd name="T51" fmla="*/ 350 h 477"/>
              <a:gd name="T52" fmla="*/ 251 w 480"/>
              <a:gd name="T53" fmla="*/ 132 h 477"/>
              <a:gd name="T54" fmla="*/ 330 w 480"/>
              <a:gd name="T55" fmla="*/ 122 h 477"/>
              <a:gd name="T56" fmla="*/ 251 w 480"/>
              <a:gd name="T57" fmla="*/ 111 h 477"/>
              <a:gd name="T58" fmla="*/ 291 w 480"/>
              <a:gd name="T59" fmla="*/ 47 h 477"/>
              <a:gd name="T60" fmla="*/ 306 w 480"/>
              <a:gd name="T61" fmla="*/ 105 h 477"/>
              <a:gd name="T62" fmla="*/ 303 w 480"/>
              <a:gd name="T63" fmla="*/ 29 h 477"/>
              <a:gd name="T64" fmla="*/ 371 w 480"/>
              <a:gd name="T65" fmla="*/ 64 h 477"/>
              <a:gd name="T66" fmla="*/ 344 w 480"/>
              <a:gd name="T67" fmla="*/ 97 h 477"/>
              <a:gd name="T68" fmla="*/ 135 w 480"/>
              <a:gd name="T69" fmla="*/ 97 h 477"/>
              <a:gd name="T70" fmla="*/ 109 w 480"/>
              <a:gd name="T71" fmla="*/ 64 h 477"/>
              <a:gd name="T72" fmla="*/ 177 w 480"/>
              <a:gd name="T73" fmla="*/ 29 h 477"/>
              <a:gd name="T74" fmla="*/ 135 w 480"/>
              <a:gd name="T75" fmla="*/ 97 h 477"/>
              <a:gd name="T76" fmla="*/ 112 w 480"/>
              <a:gd name="T77" fmla="*/ 227 h 477"/>
              <a:gd name="T78" fmla="*/ 37 w 480"/>
              <a:gd name="T79" fmla="*/ 157 h 477"/>
              <a:gd name="T80" fmla="*/ 87 w 480"/>
              <a:gd name="T81" fmla="*/ 102 h 477"/>
              <a:gd name="T82" fmla="*/ 112 w 480"/>
              <a:gd name="T83" fmla="*/ 249 h 477"/>
              <a:gd name="T84" fmla="*/ 114 w 480"/>
              <a:gd name="T85" fmla="*/ 363 h 477"/>
              <a:gd name="T86" fmla="*/ 53 w 480"/>
              <a:gd name="T87" fmla="*/ 351 h 477"/>
              <a:gd name="T88" fmla="*/ 21 w 480"/>
              <a:gd name="T89" fmla="*/ 249 h 477"/>
              <a:gd name="T90" fmla="*/ 165 w 480"/>
              <a:gd name="T91" fmla="*/ 433 h 477"/>
              <a:gd name="T92" fmla="*/ 129 w 480"/>
              <a:gd name="T93" fmla="*/ 426 h 477"/>
              <a:gd name="T94" fmla="*/ 111 w 480"/>
              <a:gd name="T95" fmla="*/ 386 h 477"/>
              <a:gd name="T96" fmla="*/ 391 w 480"/>
              <a:gd name="T97" fmla="*/ 395 h 477"/>
              <a:gd name="T98" fmla="*/ 339 w 480"/>
              <a:gd name="T99" fmla="*/ 432 h 477"/>
              <a:gd name="T100" fmla="*/ 326 w 480"/>
              <a:gd name="T101" fmla="*/ 417 h 477"/>
              <a:gd name="T102" fmla="*/ 357 w 480"/>
              <a:gd name="T103" fmla="*/ 334 h 477"/>
              <a:gd name="T104" fmla="*/ 457 w 480"/>
              <a:gd name="T105" fmla="*/ 267 h 477"/>
              <a:gd name="T106" fmla="*/ 417 w 480"/>
              <a:gd name="T107" fmla="*/ 365 h 477"/>
              <a:gd name="T108" fmla="*/ 351 w 480"/>
              <a:gd name="T109" fmla="*/ 358 h 477"/>
              <a:gd name="T110" fmla="*/ 357 w 480"/>
              <a:gd name="T111" fmla="*/ 142 h 477"/>
              <a:gd name="T112" fmla="*/ 406 w 480"/>
              <a:gd name="T113" fmla="*/ 97 h 477"/>
              <a:gd name="T114" fmla="*/ 448 w 480"/>
              <a:gd name="T115" fmla="*/ 174 h 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0" h="477">
                <a:moveTo>
                  <a:pt x="240" y="0"/>
                </a:moveTo>
                <a:lnTo>
                  <a:pt x="240" y="0"/>
                </a:lnTo>
                <a:lnTo>
                  <a:pt x="216" y="1"/>
                </a:lnTo>
                <a:lnTo>
                  <a:pt x="191" y="4"/>
                </a:lnTo>
                <a:lnTo>
                  <a:pt x="168" y="11"/>
                </a:lnTo>
                <a:lnTo>
                  <a:pt x="147" y="18"/>
                </a:lnTo>
                <a:lnTo>
                  <a:pt x="126" y="28"/>
                </a:lnTo>
                <a:lnTo>
                  <a:pt x="106" y="40"/>
                </a:lnTo>
                <a:lnTo>
                  <a:pt x="88" y="54"/>
                </a:lnTo>
                <a:lnTo>
                  <a:pt x="71" y="69"/>
                </a:lnTo>
                <a:lnTo>
                  <a:pt x="55" y="86"/>
                </a:lnTo>
                <a:lnTo>
                  <a:pt x="41" y="105"/>
                </a:lnTo>
                <a:lnTo>
                  <a:pt x="29" y="124"/>
                </a:lnTo>
                <a:lnTo>
                  <a:pt x="19" y="145"/>
                </a:lnTo>
                <a:lnTo>
                  <a:pt x="11" y="167"/>
                </a:lnTo>
                <a:lnTo>
                  <a:pt x="5" y="191"/>
                </a:lnTo>
                <a:lnTo>
                  <a:pt x="1" y="214"/>
                </a:lnTo>
                <a:lnTo>
                  <a:pt x="0" y="238"/>
                </a:lnTo>
                <a:lnTo>
                  <a:pt x="0" y="238"/>
                </a:lnTo>
                <a:lnTo>
                  <a:pt x="1" y="262"/>
                </a:lnTo>
                <a:lnTo>
                  <a:pt x="5" y="286"/>
                </a:lnTo>
                <a:lnTo>
                  <a:pt x="11" y="310"/>
                </a:lnTo>
                <a:lnTo>
                  <a:pt x="19" y="331"/>
                </a:lnTo>
                <a:lnTo>
                  <a:pt x="29" y="352"/>
                </a:lnTo>
                <a:lnTo>
                  <a:pt x="41" y="372"/>
                </a:lnTo>
                <a:lnTo>
                  <a:pt x="55" y="390"/>
                </a:lnTo>
                <a:lnTo>
                  <a:pt x="71" y="408"/>
                </a:lnTo>
                <a:lnTo>
                  <a:pt x="88" y="422"/>
                </a:lnTo>
                <a:lnTo>
                  <a:pt x="106" y="436"/>
                </a:lnTo>
                <a:lnTo>
                  <a:pt x="126" y="449"/>
                </a:lnTo>
                <a:lnTo>
                  <a:pt x="147" y="458"/>
                </a:lnTo>
                <a:lnTo>
                  <a:pt x="168" y="466"/>
                </a:lnTo>
                <a:lnTo>
                  <a:pt x="191" y="472"/>
                </a:lnTo>
                <a:lnTo>
                  <a:pt x="216" y="476"/>
                </a:lnTo>
                <a:lnTo>
                  <a:pt x="240" y="477"/>
                </a:lnTo>
                <a:lnTo>
                  <a:pt x="240" y="477"/>
                </a:lnTo>
                <a:lnTo>
                  <a:pt x="264" y="476"/>
                </a:lnTo>
                <a:lnTo>
                  <a:pt x="288" y="472"/>
                </a:lnTo>
                <a:lnTo>
                  <a:pt x="311" y="466"/>
                </a:lnTo>
                <a:lnTo>
                  <a:pt x="333" y="458"/>
                </a:lnTo>
                <a:lnTo>
                  <a:pt x="354" y="449"/>
                </a:lnTo>
                <a:lnTo>
                  <a:pt x="373" y="436"/>
                </a:lnTo>
                <a:lnTo>
                  <a:pt x="392" y="422"/>
                </a:lnTo>
                <a:lnTo>
                  <a:pt x="409" y="408"/>
                </a:lnTo>
                <a:lnTo>
                  <a:pt x="425" y="390"/>
                </a:lnTo>
                <a:lnTo>
                  <a:pt x="439" y="372"/>
                </a:lnTo>
                <a:lnTo>
                  <a:pt x="450" y="352"/>
                </a:lnTo>
                <a:lnTo>
                  <a:pt x="461" y="331"/>
                </a:lnTo>
                <a:lnTo>
                  <a:pt x="468" y="310"/>
                </a:lnTo>
                <a:lnTo>
                  <a:pt x="475" y="286"/>
                </a:lnTo>
                <a:lnTo>
                  <a:pt x="478" y="262"/>
                </a:lnTo>
                <a:lnTo>
                  <a:pt x="480" y="238"/>
                </a:lnTo>
                <a:lnTo>
                  <a:pt x="480" y="238"/>
                </a:lnTo>
                <a:lnTo>
                  <a:pt x="478" y="214"/>
                </a:lnTo>
                <a:lnTo>
                  <a:pt x="475" y="191"/>
                </a:lnTo>
                <a:lnTo>
                  <a:pt x="468" y="167"/>
                </a:lnTo>
                <a:lnTo>
                  <a:pt x="461" y="145"/>
                </a:lnTo>
                <a:lnTo>
                  <a:pt x="450" y="124"/>
                </a:lnTo>
                <a:lnTo>
                  <a:pt x="439" y="105"/>
                </a:lnTo>
                <a:lnTo>
                  <a:pt x="425" y="86"/>
                </a:lnTo>
                <a:lnTo>
                  <a:pt x="409" y="69"/>
                </a:lnTo>
                <a:lnTo>
                  <a:pt x="392" y="54"/>
                </a:lnTo>
                <a:lnTo>
                  <a:pt x="373" y="40"/>
                </a:lnTo>
                <a:lnTo>
                  <a:pt x="354" y="28"/>
                </a:lnTo>
                <a:lnTo>
                  <a:pt x="333" y="18"/>
                </a:lnTo>
                <a:lnTo>
                  <a:pt x="311" y="11"/>
                </a:lnTo>
                <a:lnTo>
                  <a:pt x="288" y="4"/>
                </a:lnTo>
                <a:lnTo>
                  <a:pt x="264" y="1"/>
                </a:lnTo>
                <a:lnTo>
                  <a:pt x="240" y="0"/>
                </a:lnTo>
                <a:lnTo>
                  <a:pt x="240" y="0"/>
                </a:lnTo>
                <a:close/>
                <a:moveTo>
                  <a:pt x="229" y="111"/>
                </a:moveTo>
                <a:lnTo>
                  <a:pt x="229" y="111"/>
                </a:lnTo>
                <a:lnTo>
                  <a:pt x="210" y="110"/>
                </a:lnTo>
                <a:lnTo>
                  <a:pt x="192" y="107"/>
                </a:lnTo>
                <a:lnTo>
                  <a:pt x="174" y="105"/>
                </a:lnTo>
                <a:lnTo>
                  <a:pt x="156" y="102"/>
                </a:lnTo>
                <a:lnTo>
                  <a:pt x="156" y="102"/>
                </a:lnTo>
                <a:lnTo>
                  <a:pt x="164" y="86"/>
                </a:lnTo>
                <a:lnTo>
                  <a:pt x="171" y="72"/>
                </a:lnTo>
                <a:lnTo>
                  <a:pt x="180" y="59"/>
                </a:lnTo>
                <a:lnTo>
                  <a:pt x="189" y="47"/>
                </a:lnTo>
                <a:lnTo>
                  <a:pt x="199" y="38"/>
                </a:lnTo>
                <a:lnTo>
                  <a:pt x="208" y="31"/>
                </a:lnTo>
                <a:lnTo>
                  <a:pt x="219" y="25"/>
                </a:lnTo>
                <a:lnTo>
                  <a:pt x="229" y="22"/>
                </a:lnTo>
                <a:lnTo>
                  <a:pt x="229" y="111"/>
                </a:lnTo>
                <a:close/>
                <a:moveTo>
                  <a:pt x="229" y="132"/>
                </a:moveTo>
                <a:lnTo>
                  <a:pt x="229" y="227"/>
                </a:lnTo>
                <a:lnTo>
                  <a:pt x="133" y="227"/>
                </a:lnTo>
                <a:lnTo>
                  <a:pt x="133" y="227"/>
                </a:lnTo>
                <a:lnTo>
                  <a:pt x="134" y="199"/>
                </a:lnTo>
                <a:lnTo>
                  <a:pt x="137" y="173"/>
                </a:lnTo>
                <a:lnTo>
                  <a:pt x="143" y="146"/>
                </a:lnTo>
                <a:lnTo>
                  <a:pt x="150" y="122"/>
                </a:lnTo>
                <a:lnTo>
                  <a:pt x="150" y="122"/>
                </a:lnTo>
                <a:lnTo>
                  <a:pt x="169" y="126"/>
                </a:lnTo>
                <a:lnTo>
                  <a:pt x="188" y="128"/>
                </a:lnTo>
                <a:lnTo>
                  <a:pt x="208" y="131"/>
                </a:lnTo>
                <a:lnTo>
                  <a:pt x="229" y="132"/>
                </a:lnTo>
                <a:lnTo>
                  <a:pt x="229" y="132"/>
                </a:lnTo>
                <a:close/>
                <a:moveTo>
                  <a:pt x="229" y="249"/>
                </a:moveTo>
                <a:lnTo>
                  <a:pt x="229" y="344"/>
                </a:lnTo>
                <a:lnTo>
                  <a:pt x="229" y="344"/>
                </a:lnTo>
                <a:lnTo>
                  <a:pt x="208" y="345"/>
                </a:lnTo>
                <a:lnTo>
                  <a:pt x="188" y="347"/>
                </a:lnTo>
                <a:lnTo>
                  <a:pt x="169" y="350"/>
                </a:lnTo>
                <a:lnTo>
                  <a:pt x="149" y="354"/>
                </a:lnTo>
                <a:lnTo>
                  <a:pt x="149" y="354"/>
                </a:lnTo>
                <a:lnTo>
                  <a:pt x="143" y="330"/>
                </a:lnTo>
                <a:lnTo>
                  <a:pt x="137" y="304"/>
                </a:lnTo>
                <a:lnTo>
                  <a:pt x="134" y="277"/>
                </a:lnTo>
                <a:lnTo>
                  <a:pt x="133" y="249"/>
                </a:lnTo>
                <a:lnTo>
                  <a:pt x="229" y="249"/>
                </a:lnTo>
                <a:close/>
                <a:moveTo>
                  <a:pt x="229" y="365"/>
                </a:moveTo>
                <a:lnTo>
                  <a:pt x="229" y="455"/>
                </a:lnTo>
                <a:lnTo>
                  <a:pt x="229" y="455"/>
                </a:lnTo>
                <a:lnTo>
                  <a:pt x="219" y="452"/>
                </a:lnTo>
                <a:lnTo>
                  <a:pt x="208" y="445"/>
                </a:lnTo>
                <a:lnTo>
                  <a:pt x="198" y="438"/>
                </a:lnTo>
                <a:lnTo>
                  <a:pt x="188" y="429"/>
                </a:lnTo>
                <a:lnTo>
                  <a:pt x="180" y="417"/>
                </a:lnTo>
                <a:lnTo>
                  <a:pt x="171" y="404"/>
                </a:lnTo>
                <a:lnTo>
                  <a:pt x="164" y="390"/>
                </a:lnTo>
                <a:lnTo>
                  <a:pt x="156" y="374"/>
                </a:lnTo>
                <a:lnTo>
                  <a:pt x="156" y="374"/>
                </a:lnTo>
                <a:lnTo>
                  <a:pt x="174" y="371"/>
                </a:lnTo>
                <a:lnTo>
                  <a:pt x="192" y="367"/>
                </a:lnTo>
                <a:lnTo>
                  <a:pt x="210" y="366"/>
                </a:lnTo>
                <a:lnTo>
                  <a:pt x="229" y="365"/>
                </a:lnTo>
                <a:lnTo>
                  <a:pt x="229" y="365"/>
                </a:lnTo>
                <a:close/>
                <a:moveTo>
                  <a:pt x="251" y="365"/>
                </a:moveTo>
                <a:lnTo>
                  <a:pt x="251" y="365"/>
                </a:lnTo>
                <a:lnTo>
                  <a:pt x="270" y="366"/>
                </a:lnTo>
                <a:lnTo>
                  <a:pt x="288" y="367"/>
                </a:lnTo>
                <a:lnTo>
                  <a:pt x="306" y="371"/>
                </a:lnTo>
                <a:lnTo>
                  <a:pt x="324" y="374"/>
                </a:lnTo>
                <a:lnTo>
                  <a:pt x="324" y="374"/>
                </a:lnTo>
                <a:lnTo>
                  <a:pt x="316" y="390"/>
                </a:lnTo>
                <a:lnTo>
                  <a:pt x="309" y="404"/>
                </a:lnTo>
                <a:lnTo>
                  <a:pt x="300" y="417"/>
                </a:lnTo>
                <a:lnTo>
                  <a:pt x="291" y="429"/>
                </a:lnTo>
                <a:lnTo>
                  <a:pt x="281" y="438"/>
                </a:lnTo>
                <a:lnTo>
                  <a:pt x="272" y="445"/>
                </a:lnTo>
                <a:lnTo>
                  <a:pt x="261" y="452"/>
                </a:lnTo>
                <a:lnTo>
                  <a:pt x="251" y="455"/>
                </a:lnTo>
                <a:lnTo>
                  <a:pt x="251" y="365"/>
                </a:lnTo>
                <a:close/>
                <a:moveTo>
                  <a:pt x="251" y="344"/>
                </a:moveTo>
                <a:lnTo>
                  <a:pt x="251" y="249"/>
                </a:lnTo>
                <a:lnTo>
                  <a:pt x="347" y="249"/>
                </a:lnTo>
                <a:lnTo>
                  <a:pt x="347" y="249"/>
                </a:lnTo>
                <a:lnTo>
                  <a:pt x="345" y="277"/>
                </a:lnTo>
                <a:lnTo>
                  <a:pt x="341" y="304"/>
                </a:lnTo>
                <a:lnTo>
                  <a:pt x="336" y="330"/>
                </a:lnTo>
                <a:lnTo>
                  <a:pt x="330" y="354"/>
                </a:lnTo>
                <a:lnTo>
                  <a:pt x="330" y="354"/>
                </a:lnTo>
                <a:lnTo>
                  <a:pt x="311" y="350"/>
                </a:lnTo>
                <a:lnTo>
                  <a:pt x="291" y="347"/>
                </a:lnTo>
                <a:lnTo>
                  <a:pt x="271" y="345"/>
                </a:lnTo>
                <a:lnTo>
                  <a:pt x="251" y="344"/>
                </a:lnTo>
                <a:lnTo>
                  <a:pt x="251" y="344"/>
                </a:lnTo>
                <a:close/>
                <a:moveTo>
                  <a:pt x="251" y="227"/>
                </a:moveTo>
                <a:lnTo>
                  <a:pt x="251" y="132"/>
                </a:lnTo>
                <a:lnTo>
                  <a:pt x="251" y="132"/>
                </a:lnTo>
                <a:lnTo>
                  <a:pt x="271" y="131"/>
                </a:lnTo>
                <a:lnTo>
                  <a:pt x="291" y="128"/>
                </a:lnTo>
                <a:lnTo>
                  <a:pt x="311" y="126"/>
                </a:lnTo>
                <a:lnTo>
                  <a:pt x="330" y="122"/>
                </a:lnTo>
                <a:lnTo>
                  <a:pt x="330" y="122"/>
                </a:lnTo>
                <a:lnTo>
                  <a:pt x="336" y="146"/>
                </a:lnTo>
                <a:lnTo>
                  <a:pt x="341" y="173"/>
                </a:lnTo>
                <a:lnTo>
                  <a:pt x="345" y="199"/>
                </a:lnTo>
                <a:lnTo>
                  <a:pt x="347" y="227"/>
                </a:lnTo>
                <a:lnTo>
                  <a:pt x="251" y="227"/>
                </a:lnTo>
                <a:close/>
                <a:moveTo>
                  <a:pt x="251" y="111"/>
                </a:moveTo>
                <a:lnTo>
                  <a:pt x="251" y="22"/>
                </a:lnTo>
                <a:lnTo>
                  <a:pt x="251" y="22"/>
                </a:lnTo>
                <a:lnTo>
                  <a:pt x="261" y="25"/>
                </a:lnTo>
                <a:lnTo>
                  <a:pt x="272" y="31"/>
                </a:lnTo>
                <a:lnTo>
                  <a:pt x="281" y="38"/>
                </a:lnTo>
                <a:lnTo>
                  <a:pt x="291" y="47"/>
                </a:lnTo>
                <a:lnTo>
                  <a:pt x="299" y="59"/>
                </a:lnTo>
                <a:lnTo>
                  <a:pt x="308" y="72"/>
                </a:lnTo>
                <a:lnTo>
                  <a:pt x="316" y="86"/>
                </a:lnTo>
                <a:lnTo>
                  <a:pt x="322" y="102"/>
                </a:lnTo>
                <a:lnTo>
                  <a:pt x="322" y="102"/>
                </a:lnTo>
                <a:lnTo>
                  <a:pt x="306" y="105"/>
                </a:lnTo>
                <a:lnTo>
                  <a:pt x="288" y="107"/>
                </a:lnTo>
                <a:lnTo>
                  <a:pt x="269" y="110"/>
                </a:lnTo>
                <a:lnTo>
                  <a:pt x="251" y="111"/>
                </a:lnTo>
                <a:lnTo>
                  <a:pt x="251" y="111"/>
                </a:lnTo>
                <a:close/>
                <a:moveTo>
                  <a:pt x="303" y="29"/>
                </a:moveTo>
                <a:lnTo>
                  <a:pt x="303" y="29"/>
                </a:lnTo>
                <a:lnTo>
                  <a:pt x="315" y="34"/>
                </a:lnTo>
                <a:lnTo>
                  <a:pt x="328" y="39"/>
                </a:lnTo>
                <a:lnTo>
                  <a:pt x="339" y="44"/>
                </a:lnTo>
                <a:lnTo>
                  <a:pt x="350" y="51"/>
                </a:lnTo>
                <a:lnTo>
                  <a:pt x="361" y="57"/>
                </a:lnTo>
                <a:lnTo>
                  <a:pt x="371" y="64"/>
                </a:lnTo>
                <a:lnTo>
                  <a:pt x="381" y="73"/>
                </a:lnTo>
                <a:lnTo>
                  <a:pt x="390" y="81"/>
                </a:lnTo>
                <a:lnTo>
                  <a:pt x="390" y="81"/>
                </a:lnTo>
                <a:lnTo>
                  <a:pt x="368" y="90"/>
                </a:lnTo>
                <a:lnTo>
                  <a:pt x="344" y="97"/>
                </a:lnTo>
                <a:lnTo>
                  <a:pt x="344" y="97"/>
                </a:lnTo>
                <a:lnTo>
                  <a:pt x="335" y="78"/>
                </a:lnTo>
                <a:lnTo>
                  <a:pt x="326" y="60"/>
                </a:lnTo>
                <a:lnTo>
                  <a:pt x="315" y="43"/>
                </a:lnTo>
                <a:lnTo>
                  <a:pt x="303" y="29"/>
                </a:lnTo>
                <a:lnTo>
                  <a:pt x="303" y="29"/>
                </a:lnTo>
                <a:close/>
                <a:moveTo>
                  <a:pt x="135" y="97"/>
                </a:moveTo>
                <a:lnTo>
                  <a:pt x="135" y="97"/>
                </a:lnTo>
                <a:lnTo>
                  <a:pt x="111" y="90"/>
                </a:lnTo>
                <a:lnTo>
                  <a:pt x="89" y="81"/>
                </a:lnTo>
                <a:lnTo>
                  <a:pt x="89" y="81"/>
                </a:lnTo>
                <a:lnTo>
                  <a:pt x="98" y="73"/>
                </a:lnTo>
                <a:lnTo>
                  <a:pt x="109" y="64"/>
                </a:lnTo>
                <a:lnTo>
                  <a:pt x="118" y="57"/>
                </a:lnTo>
                <a:lnTo>
                  <a:pt x="129" y="51"/>
                </a:lnTo>
                <a:lnTo>
                  <a:pt x="141" y="44"/>
                </a:lnTo>
                <a:lnTo>
                  <a:pt x="152" y="39"/>
                </a:lnTo>
                <a:lnTo>
                  <a:pt x="164" y="34"/>
                </a:lnTo>
                <a:lnTo>
                  <a:pt x="177" y="29"/>
                </a:lnTo>
                <a:lnTo>
                  <a:pt x="177" y="29"/>
                </a:lnTo>
                <a:lnTo>
                  <a:pt x="165" y="43"/>
                </a:lnTo>
                <a:lnTo>
                  <a:pt x="154" y="60"/>
                </a:lnTo>
                <a:lnTo>
                  <a:pt x="144" y="78"/>
                </a:lnTo>
                <a:lnTo>
                  <a:pt x="135" y="97"/>
                </a:lnTo>
                <a:lnTo>
                  <a:pt x="135" y="97"/>
                </a:lnTo>
                <a:close/>
                <a:moveTo>
                  <a:pt x="129" y="117"/>
                </a:moveTo>
                <a:lnTo>
                  <a:pt x="129" y="117"/>
                </a:lnTo>
                <a:lnTo>
                  <a:pt x="122" y="142"/>
                </a:lnTo>
                <a:lnTo>
                  <a:pt x="116" y="170"/>
                </a:lnTo>
                <a:lnTo>
                  <a:pt x="113" y="198"/>
                </a:lnTo>
                <a:lnTo>
                  <a:pt x="112" y="227"/>
                </a:lnTo>
                <a:lnTo>
                  <a:pt x="21" y="227"/>
                </a:lnTo>
                <a:lnTo>
                  <a:pt x="21" y="227"/>
                </a:lnTo>
                <a:lnTo>
                  <a:pt x="23" y="210"/>
                </a:lnTo>
                <a:lnTo>
                  <a:pt x="26" y="192"/>
                </a:lnTo>
                <a:lnTo>
                  <a:pt x="31" y="174"/>
                </a:lnTo>
                <a:lnTo>
                  <a:pt x="37" y="157"/>
                </a:lnTo>
                <a:lnTo>
                  <a:pt x="44" y="141"/>
                </a:lnTo>
                <a:lnTo>
                  <a:pt x="53" y="125"/>
                </a:lnTo>
                <a:lnTo>
                  <a:pt x="63" y="111"/>
                </a:lnTo>
                <a:lnTo>
                  <a:pt x="74" y="97"/>
                </a:lnTo>
                <a:lnTo>
                  <a:pt x="74" y="97"/>
                </a:lnTo>
                <a:lnTo>
                  <a:pt x="87" y="102"/>
                </a:lnTo>
                <a:lnTo>
                  <a:pt x="100" y="108"/>
                </a:lnTo>
                <a:lnTo>
                  <a:pt x="114" y="113"/>
                </a:lnTo>
                <a:lnTo>
                  <a:pt x="129" y="117"/>
                </a:lnTo>
                <a:lnTo>
                  <a:pt x="129" y="117"/>
                </a:lnTo>
                <a:close/>
                <a:moveTo>
                  <a:pt x="112" y="249"/>
                </a:moveTo>
                <a:lnTo>
                  <a:pt x="112" y="249"/>
                </a:lnTo>
                <a:lnTo>
                  <a:pt x="113" y="278"/>
                </a:lnTo>
                <a:lnTo>
                  <a:pt x="116" y="306"/>
                </a:lnTo>
                <a:lnTo>
                  <a:pt x="122" y="334"/>
                </a:lnTo>
                <a:lnTo>
                  <a:pt x="128" y="358"/>
                </a:lnTo>
                <a:lnTo>
                  <a:pt x="128" y="358"/>
                </a:lnTo>
                <a:lnTo>
                  <a:pt x="114" y="363"/>
                </a:lnTo>
                <a:lnTo>
                  <a:pt x="99" y="367"/>
                </a:lnTo>
                <a:lnTo>
                  <a:pt x="86" y="374"/>
                </a:lnTo>
                <a:lnTo>
                  <a:pt x="73" y="379"/>
                </a:lnTo>
                <a:lnTo>
                  <a:pt x="73" y="379"/>
                </a:lnTo>
                <a:lnTo>
                  <a:pt x="62" y="365"/>
                </a:lnTo>
                <a:lnTo>
                  <a:pt x="53" y="351"/>
                </a:lnTo>
                <a:lnTo>
                  <a:pt x="44" y="336"/>
                </a:lnTo>
                <a:lnTo>
                  <a:pt x="37" y="319"/>
                </a:lnTo>
                <a:lnTo>
                  <a:pt x="31" y="302"/>
                </a:lnTo>
                <a:lnTo>
                  <a:pt x="26" y="285"/>
                </a:lnTo>
                <a:lnTo>
                  <a:pt x="23" y="267"/>
                </a:lnTo>
                <a:lnTo>
                  <a:pt x="21" y="249"/>
                </a:lnTo>
                <a:lnTo>
                  <a:pt x="112" y="249"/>
                </a:lnTo>
                <a:close/>
                <a:moveTo>
                  <a:pt x="135" y="378"/>
                </a:moveTo>
                <a:lnTo>
                  <a:pt x="135" y="378"/>
                </a:lnTo>
                <a:lnTo>
                  <a:pt x="144" y="398"/>
                </a:lnTo>
                <a:lnTo>
                  <a:pt x="153" y="417"/>
                </a:lnTo>
                <a:lnTo>
                  <a:pt x="165" y="433"/>
                </a:lnTo>
                <a:lnTo>
                  <a:pt x="177" y="446"/>
                </a:lnTo>
                <a:lnTo>
                  <a:pt x="177" y="446"/>
                </a:lnTo>
                <a:lnTo>
                  <a:pt x="164" y="442"/>
                </a:lnTo>
                <a:lnTo>
                  <a:pt x="152" y="438"/>
                </a:lnTo>
                <a:lnTo>
                  <a:pt x="141" y="432"/>
                </a:lnTo>
                <a:lnTo>
                  <a:pt x="129" y="426"/>
                </a:lnTo>
                <a:lnTo>
                  <a:pt x="118" y="419"/>
                </a:lnTo>
                <a:lnTo>
                  <a:pt x="108" y="412"/>
                </a:lnTo>
                <a:lnTo>
                  <a:pt x="98" y="404"/>
                </a:lnTo>
                <a:lnTo>
                  <a:pt x="89" y="395"/>
                </a:lnTo>
                <a:lnTo>
                  <a:pt x="89" y="395"/>
                </a:lnTo>
                <a:lnTo>
                  <a:pt x="111" y="386"/>
                </a:lnTo>
                <a:lnTo>
                  <a:pt x="135" y="378"/>
                </a:lnTo>
                <a:lnTo>
                  <a:pt x="135" y="378"/>
                </a:lnTo>
                <a:close/>
                <a:moveTo>
                  <a:pt x="345" y="378"/>
                </a:moveTo>
                <a:lnTo>
                  <a:pt x="345" y="378"/>
                </a:lnTo>
                <a:lnTo>
                  <a:pt x="369" y="386"/>
                </a:lnTo>
                <a:lnTo>
                  <a:pt x="391" y="395"/>
                </a:lnTo>
                <a:lnTo>
                  <a:pt x="391" y="395"/>
                </a:lnTo>
                <a:lnTo>
                  <a:pt x="382" y="404"/>
                </a:lnTo>
                <a:lnTo>
                  <a:pt x="371" y="412"/>
                </a:lnTo>
                <a:lnTo>
                  <a:pt x="362" y="419"/>
                </a:lnTo>
                <a:lnTo>
                  <a:pt x="350" y="426"/>
                </a:lnTo>
                <a:lnTo>
                  <a:pt x="339" y="432"/>
                </a:lnTo>
                <a:lnTo>
                  <a:pt x="328" y="438"/>
                </a:lnTo>
                <a:lnTo>
                  <a:pt x="316" y="442"/>
                </a:lnTo>
                <a:lnTo>
                  <a:pt x="303" y="446"/>
                </a:lnTo>
                <a:lnTo>
                  <a:pt x="303" y="446"/>
                </a:lnTo>
                <a:lnTo>
                  <a:pt x="315" y="433"/>
                </a:lnTo>
                <a:lnTo>
                  <a:pt x="326" y="417"/>
                </a:lnTo>
                <a:lnTo>
                  <a:pt x="335" y="398"/>
                </a:lnTo>
                <a:lnTo>
                  <a:pt x="345" y="378"/>
                </a:lnTo>
                <a:lnTo>
                  <a:pt x="345" y="378"/>
                </a:lnTo>
                <a:close/>
                <a:moveTo>
                  <a:pt x="351" y="358"/>
                </a:moveTo>
                <a:lnTo>
                  <a:pt x="351" y="358"/>
                </a:lnTo>
                <a:lnTo>
                  <a:pt x="357" y="334"/>
                </a:lnTo>
                <a:lnTo>
                  <a:pt x="363" y="306"/>
                </a:lnTo>
                <a:lnTo>
                  <a:pt x="366" y="278"/>
                </a:lnTo>
                <a:lnTo>
                  <a:pt x="368" y="249"/>
                </a:lnTo>
                <a:lnTo>
                  <a:pt x="458" y="249"/>
                </a:lnTo>
                <a:lnTo>
                  <a:pt x="458" y="249"/>
                </a:lnTo>
                <a:lnTo>
                  <a:pt x="457" y="267"/>
                </a:lnTo>
                <a:lnTo>
                  <a:pt x="454" y="285"/>
                </a:lnTo>
                <a:lnTo>
                  <a:pt x="448" y="302"/>
                </a:lnTo>
                <a:lnTo>
                  <a:pt x="443" y="319"/>
                </a:lnTo>
                <a:lnTo>
                  <a:pt x="436" y="336"/>
                </a:lnTo>
                <a:lnTo>
                  <a:pt x="427" y="351"/>
                </a:lnTo>
                <a:lnTo>
                  <a:pt x="417" y="365"/>
                </a:lnTo>
                <a:lnTo>
                  <a:pt x="406" y="379"/>
                </a:lnTo>
                <a:lnTo>
                  <a:pt x="406" y="379"/>
                </a:lnTo>
                <a:lnTo>
                  <a:pt x="393" y="374"/>
                </a:lnTo>
                <a:lnTo>
                  <a:pt x="380" y="367"/>
                </a:lnTo>
                <a:lnTo>
                  <a:pt x="366" y="363"/>
                </a:lnTo>
                <a:lnTo>
                  <a:pt x="351" y="358"/>
                </a:lnTo>
                <a:lnTo>
                  <a:pt x="351" y="358"/>
                </a:lnTo>
                <a:close/>
                <a:moveTo>
                  <a:pt x="368" y="227"/>
                </a:moveTo>
                <a:lnTo>
                  <a:pt x="368" y="227"/>
                </a:lnTo>
                <a:lnTo>
                  <a:pt x="366" y="198"/>
                </a:lnTo>
                <a:lnTo>
                  <a:pt x="363" y="170"/>
                </a:lnTo>
                <a:lnTo>
                  <a:pt x="357" y="142"/>
                </a:lnTo>
                <a:lnTo>
                  <a:pt x="351" y="117"/>
                </a:lnTo>
                <a:lnTo>
                  <a:pt x="351" y="117"/>
                </a:lnTo>
                <a:lnTo>
                  <a:pt x="366" y="113"/>
                </a:lnTo>
                <a:lnTo>
                  <a:pt x="380" y="108"/>
                </a:lnTo>
                <a:lnTo>
                  <a:pt x="393" y="102"/>
                </a:lnTo>
                <a:lnTo>
                  <a:pt x="406" y="97"/>
                </a:lnTo>
                <a:lnTo>
                  <a:pt x="406" y="97"/>
                </a:lnTo>
                <a:lnTo>
                  <a:pt x="417" y="111"/>
                </a:lnTo>
                <a:lnTo>
                  <a:pt x="426" y="125"/>
                </a:lnTo>
                <a:lnTo>
                  <a:pt x="436" y="141"/>
                </a:lnTo>
                <a:lnTo>
                  <a:pt x="442" y="157"/>
                </a:lnTo>
                <a:lnTo>
                  <a:pt x="448" y="174"/>
                </a:lnTo>
                <a:lnTo>
                  <a:pt x="454" y="192"/>
                </a:lnTo>
                <a:lnTo>
                  <a:pt x="457" y="210"/>
                </a:lnTo>
                <a:lnTo>
                  <a:pt x="458" y="227"/>
                </a:lnTo>
                <a:lnTo>
                  <a:pt x="368" y="22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573B6EEC-976F-4CED-9D85-0069884B18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07604" y="474876"/>
            <a:ext cx="762000" cy="763588"/>
            <a:chOff x="3601" y="1920"/>
            <a:chExt cx="480" cy="481"/>
          </a:xfrm>
          <a:solidFill>
            <a:schemeClr val="accent2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43707B99-EDFF-43C6-8745-1E0F3AFA4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20"/>
              <a:ext cx="480" cy="481"/>
            </a:xfrm>
            <a:custGeom>
              <a:avLst/>
              <a:gdLst>
                <a:gd name="T0" fmla="*/ 300 w 480"/>
                <a:gd name="T1" fmla="*/ 247 h 481"/>
                <a:gd name="T2" fmla="*/ 316 w 480"/>
                <a:gd name="T3" fmla="*/ 213 h 481"/>
                <a:gd name="T4" fmla="*/ 323 w 480"/>
                <a:gd name="T5" fmla="*/ 175 h 481"/>
                <a:gd name="T6" fmla="*/ 323 w 480"/>
                <a:gd name="T7" fmla="*/ 147 h 481"/>
                <a:gd name="T8" fmla="*/ 312 w 480"/>
                <a:gd name="T9" fmla="*/ 101 h 481"/>
                <a:gd name="T10" fmla="*/ 287 w 480"/>
                <a:gd name="T11" fmla="*/ 59 h 481"/>
                <a:gd name="T12" fmla="*/ 265 w 480"/>
                <a:gd name="T13" fmla="*/ 37 h 481"/>
                <a:gd name="T14" fmla="*/ 225 w 480"/>
                <a:gd name="T15" fmla="*/ 13 h 481"/>
                <a:gd name="T16" fmla="*/ 178 w 480"/>
                <a:gd name="T17" fmla="*/ 1 h 481"/>
                <a:gd name="T18" fmla="*/ 146 w 480"/>
                <a:gd name="T19" fmla="*/ 1 h 481"/>
                <a:gd name="T20" fmla="*/ 101 w 480"/>
                <a:gd name="T21" fmla="*/ 13 h 481"/>
                <a:gd name="T22" fmla="*/ 59 w 480"/>
                <a:gd name="T23" fmla="*/ 37 h 481"/>
                <a:gd name="T24" fmla="*/ 37 w 480"/>
                <a:gd name="T25" fmla="*/ 61 h 481"/>
                <a:gd name="T26" fmla="*/ 13 w 480"/>
                <a:gd name="T27" fmla="*/ 102 h 481"/>
                <a:gd name="T28" fmla="*/ 1 w 480"/>
                <a:gd name="T29" fmla="*/ 148 h 481"/>
                <a:gd name="T30" fmla="*/ 3 w 480"/>
                <a:gd name="T31" fmla="*/ 193 h 481"/>
                <a:gd name="T32" fmla="*/ 19 w 480"/>
                <a:gd name="T33" fmla="*/ 238 h 481"/>
                <a:gd name="T34" fmla="*/ 48 w 480"/>
                <a:gd name="T35" fmla="*/ 277 h 481"/>
                <a:gd name="T36" fmla="*/ 72 w 480"/>
                <a:gd name="T37" fmla="*/ 297 h 481"/>
                <a:gd name="T38" fmla="*/ 115 w 480"/>
                <a:gd name="T39" fmla="*/ 317 h 481"/>
                <a:gd name="T40" fmla="*/ 162 w 480"/>
                <a:gd name="T41" fmla="*/ 325 h 481"/>
                <a:gd name="T42" fmla="*/ 188 w 480"/>
                <a:gd name="T43" fmla="*/ 323 h 481"/>
                <a:gd name="T44" fmla="*/ 225 w 480"/>
                <a:gd name="T45" fmla="*/ 312 h 481"/>
                <a:gd name="T46" fmla="*/ 257 w 480"/>
                <a:gd name="T47" fmla="*/ 294 h 481"/>
                <a:gd name="T48" fmla="*/ 294 w 480"/>
                <a:gd name="T49" fmla="*/ 258 h 481"/>
                <a:gd name="T50" fmla="*/ 233 w 480"/>
                <a:gd name="T51" fmla="*/ 248 h 481"/>
                <a:gd name="T52" fmla="*/ 205 w 480"/>
                <a:gd name="T53" fmla="*/ 265 h 481"/>
                <a:gd name="T54" fmla="*/ 174 w 480"/>
                <a:gd name="T55" fmla="*/ 273 h 481"/>
                <a:gd name="T56" fmla="*/ 152 w 480"/>
                <a:gd name="T57" fmla="*/ 273 h 481"/>
                <a:gd name="T58" fmla="*/ 120 w 480"/>
                <a:gd name="T59" fmla="*/ 265 h 481"/>
                <a:gd name="T60" fmla="*/ 92 w 480"/>
                <a:gd name="T61" fmla="*/ 248 h 481"/>
                <a:gd name="T62" fmla="*/ 76 w 480"/>
                <a:gd name="T63" fmla="*/ 233 h 481"/>
                <a:gd name="T64" fmla="*/ 59 w 480"/>
                <a:gd name="T65" fmla="*/ 205 h 481"/>
                <a:gd name="T66" fmla="*/ 52 w 480"/>
                <a:gd name="T67" fmla="*/ 173 h 481"/>
                <a:gd name="T68" fmla="*/ 53 w 480"/>
                <a:gd name="T69" fmla="*/ 141 h 481"/>
                <a:gd name="T70" fmla="*/ 64 w 480"/>
                <a:gd name="T71" fmla="*/ 110 h 481"/>
                <a:gd name="T72" fmla="*/ 84 w 480"/>
                <a:gd name="T73" fmla="*/ 84 h 481"/>
                <a:gd name="T74" fmla="*/ 101 w 480"/>
                <a:gd name="T75" fmla="*/ 70 h 481"/>
                <a:gd name="T76" fmla="*/ 130 w 480"/>
                <a:gd name="T77" fmla="*/ 56 h 481"/>
                <a:gd name="T78" fmla="*/ 162 w 480"/>
                <a:gd name="T79" fmla="*/ 51 h 481"/>
                <a:gd name="T80" fmla="*/ 184 w 480"/>
                <a:gd name="T81" fmla="*/ 53 h 481"/>
                <a:gd name="T82" fmla="*/ 214 w 480"/>
                <a:gd name="T83" fmla="*/ 65 h 481"/>
                <a:gd name="T84" fmla="*/ 241 w 480"/>
                <a:gd name="T85" fmla="*/ 84 h 481"/>
                <a:gd name="T86" fmla="*/ 254 w 480"/>
                <a:gd name="T87" fmla="*/ 101 h 481"/>
                <a:gd name="T88" fmla="*/ 268 w 480"/>
                <a:gd name="T89" fmla="*/ 131 h 481"/>
                <a:gd name="T90" fmla="*/ 273 w 480"/>
                <a:gd name="T91" fmla="*/ 162 h 481"/>
                <a:gd name="T92" fmla="*/ 271 w 480"/>
                <a:gd name="T93" fmla="*/ 185 h 481"/>
                <a:gd name="T94" fmla="*/ 261 w 480"/>
                <a:gd name="T95" fmla="*/ 216 h 481"/>
                <a:gd name="T96" fmla="*/ 241 w 480"/>
                <a:gd name="T97" fmla="*/ 24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0" h="481">
                  <a:moveTo>
                    <a:pt x="294" y="258"/>
                  </a:moveTo>
                  <a:lnTo>
                    <a:pt x="294" y="258"/>
                  </a:lnTo>
                  <a:lnTo>
                    <a:pt x="300" y="247"/>
                  </a:lnTo>
                  <a:lnTo>
                    <a:pt x="306" y="237"/>
                  </a:lnTo>
                  <a:lnTo>
                    <a:pt x="312" y="225"/>
                  </a:lnTo>
                  <a:lnTo>
                    <a:pt x="316" y="213"/>
                  </a:lnTo>
                  <a:lnTo>
                    <a:pt x="320" y="201"/>
                  </a:lnTo>
                  <a:lnTo>
                    <a:pt x="322" y="188"/>
                  </a:lnTo>
                  <a:lnTo>
                    <a:pt x="323" y="175"/>
                  </a:lnTo>
                  <a:lnTo>
                    <a:pt x="324" y="162"/>
                  </a:lnTo>
                  <a:lnTo>
                    <a:pt x="324" y="162"/>
                  </a:lnTo>
                  <a:lnTo>
                    <a:pt x="323" y="147"/>
                  </a:lnTo>
                  <a:lnTo>
                    <a:pt x="321" y="131"/>
                  </a:lnTo>
                  <a:lnTo>
                    <a:pt x="317" y="116"/>
                  </a:lnTo>
                  <a:lnTo>
                    <a:pt x="312" y="101"/>
                  </a:lnTo>
                  <a:lnTo>
                    <a:pt x="305" y="86"/>
                  </a:lnTo>
                  <a:lnTo>
                    <a:pt x="297" y="72"/>
                  </a:lnTo>
                  <a:lnTo>
                    <a:pt x="287" y="59"/>
                  </a:lnTo>
                  <a:lnTo>
                    <a:pt x="277" y="48"/>
                  </a:lnTo>
                  <a:lnTo>
                    <a:pt x="277" y="48"/>
                  </a:lnTo>
                  <a:lnTo>
                    <a:pt x="265" y="37"/>
                  </a:lnTo>
                  <a:lnTo>
                    <a:pt x="252" y="28"/>
                  </a:lnTo>
                  <a:lnTo>
                    <a:pt x="238" y="19"/>
                  </a:lnTo>
                  <a:lnTo>
                    <a:pt x="225" y="13"/>
                  </a:lnTo>
                  <a:lnTo>
                    <a:pt x="210" y="7"/>
                  </a:lnTo>
                  <a:lnTo>
                    <a:pt x="194" y="3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46" y="1"/>
                  </a:lnTo>
                  <a:lnTo>
                    <a:pt x="130" y="3"/>
                  </a:lnTo>
                  <a:lnTo>
                    <a:pt x="115" y="7"/>
                  </a:lnTo>
                  <a:lnTo>
                    <a:pt x="101" y="13"/>
                  </a:lnTo>
                  <a:lnTo>
                    <a:pt x="86" y="19"/>
                  </a:lnTo>
                  <a:lnTo>
                    <a:pt x="72" y="28"/>
                  </a:lnTo>
                  <a:lnTo>
                    <a:pt x="59" y="37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37" y="61"/>
                  </a:lnTo>
                  <a:lnTo>
                    <a:pt x="28" y="73"/>
                  </a:lnTo>
                  <a:lnTo>
                    <a:pt x="19" y="87"/>
                  </a:lnTo>
                  <a:lnTo>
                    <a:pt x="13" y="102"/>
                  </a:lnTo>
                  <a:lnTo>
                    <a:pt x="7" y="117"/>
                  </a:lnTo>
                  <a:lnTo>
                    <a:pt x="3" y="132"/>
                  </a:lnTo>
                  <a:lnTo>
                    <a:pt x="1" y="148"/>
                  </a:lnTo>
                  <a:lnTo>
                    <a:pt x="0" y="162"/>
                  </a:lnTo>
                  <a:lnTo>
                    <a:pt x="1" y="178"/>
                  </a:lnTo>
                  <a:lnTo>
                    <a:pt x="3" y="193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9" y="238"/>
                  </a:lnTo>
                  <a:lnTo>
                    <a:pt x="28" y="252"/>
                  </a:lnTo>
                  <a:lnTo>
                    <a:pt x="37" y="265"/>
                  </a:lnTo>
                  <a:lnTo>
                    <a:pt x="48" y="277"/>
                  </a:lnTo>
                  <a:lnTo>
                    <a:pt x="48" y="277"/>
                  </a:lnTo>
                  <a:lnTo>
                    <a:pt x="59" y="288"/>
                  </a:lnTo>
                  <a:lnTo>
                    <a:pt x="72" y="297"/>
                  </a:lnTo>
                  <a:lnTo>
                    <a:pt x="86" y="306"/>
                  </a:lnTo>
                  <a:lnTo>
                    <a:pt x="101" y="312"/>
                  </a:lnTo>
                  <a:lnTo>
                    <a:pt x="115" y="317"/>
                  </a:lnTo>
                  <a:lnTo>
                    <a:pt x="130" y="322"/>
                  </a:lnTo>
                  <a:lnTo>
                    <a:pt x="146" y="324"/>
                  </a:lnTo>
                  <a:lnTo>
                    <a:pt x="162" y="325"/>
                  </a:lnTo>
                  <a:lnTo>
                    <a:pt x="162" y="325"/>
                  </a:lnTo>
                  <a:lnTo>
                    <a:pt x="175" y="324"/>
                  </a:lnTo>
                  <a:lnTo>
                    <a:pt x="188" y="323"/>
                  </a:lnTo>
                  <a:lnTo>
                    <a:pt x="200" y="321"/>
                  </a:lnTo>
                  <a:lnTo>
                    <a:pt x="213" y="316"/>
                  </a:lnTo>
                  <a:lnTo>
                    <a:pt x="225" y="312"/>
                  </a:lnTo>
                  <a:lnTo>
                    <a:pt x="236" y="307"/>
                  </a:lnTo>
                  <a:lnTo>
                    <a:pt x="247" y="302"/>
                  </a:lnTo>
                  <a:lnTo>
                    <a:pt x="257" y="294"/>
                  </a:lnTo>
                  <a:lnTo>
                    <a:pt x="444" y="481"/>
                  </a:lnTo>
                  <a:lnTo>
                    <a:pt x="480" y="445"/>
                  </a:lnTo>
                  <a:lnTo>
                    <a:pt x="294" y="258"/>
                  </a:lnTo>
                  <a:close/>
                  <a:moveTo>
                    <a:pt x="241" y="241"/>
                  </a:moveTo>
                  <a:lnTo>
                    <a:pt x="241" y="241"/>
                  </a:lnTo>
                  <a:lnTo>
                    <a:pt x="233" y="248"/>
                  </a:lnTo>
                  <a:lnTo>
                    <a:pt x="224" y="255"/>
                  </a:lnTo>
                  <a:lnTo>
                    <a:pt x="214" y="261"/>
                  </a:lnTo>
                  <a:lnTo>
                    <a:pt x="205" y="265"/>
                  </a:lnTo>
                  <a:lnTo>
                    <a:pt x="195" y="269"/>
                  </a:lnTo>
                  <a:lnTo>
                    <a:pt x="184" y="272"/>
                  </a:lnTo>
                  <a:lnTo>
                    <a:pt x="174" y="273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52" y="273"/>
                  </a:lnTo>
                  <a:lnTo>
                    <a:pt x="141" y="272"/>
                  </a:lnTo>
                  <a:lnTo>
                    <a:pt x="130" y="269"/>
                  </a:lnTo>
                  <a:lnTo>
                    <a:pt x="120" y="265"/>
                  </a:lnTo>
                  <a:lnTo>
                    <a:pt x="110" y="261"/>
                  </a:lnTo>
                  <a:lnTo>
                    <a:pt x="101" y="255"/>
                  </a:lnTo>
                  <a:lnTo>
                    <a:pt x="92" y="248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76" y="233"/>
                  </a:lnTo>
                  <a:lnTo>
                    <a:pt x="70" y="224"/>
                  </a:lnTo>
                  <a:lnTo>
                    <a:pt x="64" y="214"/>
                  </a:lnTo>
                  <a:lnTo>
                    <a:pt x="59" y="205"/>
                  </a:lnTo>
                  <a:lnTo>
                    <a:pt x="56" y="194"/>
                  </a:lnTo>
                  <a:lnTo>
                    <a:pt x="53" y="184"/>
                  </a:lnTo>
                  <a:lnTo>
                    <a:pt x="52" y="173"/>
                  </a:lnTo>
                  <a:lnTo>
                    <a:pt x="51" y="162"/>
                  </a:lnTo>
                  <a:lnTo>
                    <a:pt x="52" y="152"/>
                  </a:lnTo>
                  <a:lnTo>
                    <a:pt x="53" y="141"/>
                  </a:lnTo>
                  <a:lnTo>
                    <a:pt x="56" y="131"/>
                  </a:lnTo>
                  <a:lnTo>
                    <a:pt x="59" y="121"/>
                  </a:lnTo>
                  <a:lnTo>
                    <a:pt x="64" y="110"/>
                  </a:lnTo>
                  <a:lnTo>
                    <a:pt x="70" y="102"/>
                  </a:lnTo>
                  <a:lnTo>
                    <a:pt x="76" y="9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76"/>
                  </a:lnTo>
                  <a:lnTo>
                    <a:pt x="101" y="70"/>
                  </a:lnTo>
                  <a:lnTo>
                    <a:pt x="110" y="65"/>
                  </a:lnTo>
                  <a:lnTo>
                    <a:pt x="120" y="59"/>
                  </a:lnTo>
                  <a:lnTo>
                    <a:pt x="130" y="56"/>
                  </a:lnTo>
                  <a:lnTo>
                    <a:pt x="141" y="53"/>
                  </a:lnTo>
                  <a:lnTo>
                    <a:pt x="152" y="52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74" y="52"/>
                  </a:lnTo>
                  <a:lnTo>
                    <a:pt x="184" y="53"/>
                  </a:lnTo>
                  <a:lnTo>
                    <a:pt x="195" y="56"/>
                  </a:lnTo>
                  <a:lnTo>
                    <a:pt x="205" y="59"/>
                  </a:lnTo>
                  <a:lnTo>
                    <a:pt x="214" y="65"/>
                  </a:lnTo>
                  <a:lnTo>
                    <a:pt x="224" y="70"/>
                  </a:lnTo>
                  <a:lnTo>
                    <a:pt x="233" y="76"/>
                  </a:lnTo>
                  <a:lnTo>
                    <a:pt x="241" y="84"/>
                  </a:lnTo>
                  <a:lnTo>
                    <a:pt x="241" y="84"/>
                  </a:lnTo>
                  <a:lnTo>
                    <a:pt x="248" y="92"/>
                  </a:lnTo>
                  <a:lnTo>
                    <a:pt x="254" y="101"/>
                  </a:lnTo>
                  <a:lnTo>
                    <a:pt x="261" y="110"/>
                  </a:lnTo>
                  <a:lnTo>
                    <a:pt x="265" y="120"/>
                  </a:lnTo>
                  <a:lnTo>
                    <a:pt x="268" y="131"/>
                  </a:lnTo>
                  <a:lnTo>
                    <a:pt x="271" y="141"/>
                  </a:lnTo>
                  <a:lnTo>
                    <a:pt x="272" y="152"/>
                  </a:lnTo>
                  <a:lnTo>
                    <a:pt x="273" y="162"/>
                  </a:lnTo>
                  <a:lnTo>
                    <a:pt x="273" y="162"/>
                  </a:lnTo>
                  <a:lnTo>
                    <a:pt x="272" y="174"/>
                  </a:lnTo>
                  <a:lnTo>
                    <a:pt x="271" y="185"/>
                  </a:lnTo>
                  <a:lnTo>
                    <a:pt x="268" y="195"/>
                  </a:lnTo>
                  <a:lnTo>
                    <a:pt x="265" y="205"/>
                  </a:lnTo>
                  <a:lnTo>
                    <a:pt x="261" y="216"/>
                  </a:lnTo>
                  <a:lnTo>
                    <a:pt x="254" y="224"/>
                  </a:lnTo>
                  <a:lnTo>
                    <a:pt x="248" y="234"/>
                  </a:lnTo>
                  <a:lnTo>
                    <a:pt x="241" y="241"/>
                  </a:lnTo>
                  <a:lnTo>
                    <a:pt x="2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94B2C93C-4E8D-40EB-A80E-35B5D9AF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" y="2022"/>
              <a:ext cx="121" cy="121"/>
            </a:xfrm>
            <a:custGeom>
              <a:avLst/>
              <a:gdLst>
                <a:gd name="T0" fmla="*/ 71 w 121"/>
                <a:gd name="T1" fmla="*/ 0 h 121"/>
                <a:gd name="T2" fmla="*/ 50 w 121"/>
                <a:gd name="T3" fmla="*/ 0 h 121"/>
                <a:gd name="T4" fmla="*/ 50 w 121"/>
                <a:gd name="T5" fmla="*/ 50 h 121"/>
                <a:gd name="T6" fmla="*/ 0 w 121"/>
                <a:gd name="T7" fmla="*/ 50 h 121"/>
                <a:gd name="T8" fmla="*/ 0 w 121"/>
                <a:gd name="T9" fmla="*/ 71 h 121"/>
                <a:gd name="T10" fmla="*/ 50 w 121"/>
                <a:gd name="T11" fmla="*/ 71 h 121"/>
                <a:gd name="T12" fmla="*/ 50 w 121"/>
                <a:gd name="T13" fmla="*/ 121 h 121"/>
                <a:gd name="T14" fmla="*/ 71 w 121"/>
                <a:gd name="T15" fmla="*/ 121 h 121"/>
                <a:gd name="T16" fmla="*/ 71 w 121"/>
                <a:gd name="T17" fmla="*/ 71 h 121"/>
                <a:gd name="T18" fmla="*/ 121 w 121"/>
                <a:gd name="T19" fmla="*/ 71 h 121"/>
                <a:gd name="T20" fmla="*/ 121 w 121"/>
                <a:gd name="T21" fmla="*/ 50 h 121"/>
                <a:gd name="T22" fmla="*/ 71 w 121"/>
                <a:gd name="T23" fmla="*/ 50 h 121"/>
                <a:gd name="T24" fmla="*/ 71 w 121"/>
                <a:gd name="T2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1" h="121">
                  <a:moveTo>
                    <a:pt x="71" y="0"/>
                  </a:moveTo>
                  <a:lnTo>
                    <a:pt x="50" y="0"/>
                  </a:lnTo>
                  <a:lnTo>
                    <a:pt x="50" y="50"/>
                  </a:lnTo>
                  <a:lnTo>
                    <a:pt x="0" y="50"/>
                  </a:lnTo>
                  <a:lnTo>
                    <a:pt x="0" y="71"/>
                  </a:lnTo>
                  <a:lnTo>
                    <a:pt x="50" y="71"/>
                  </a:lnTo>
                  <a:lnTo>
                    <a:pt x="50" y="121"/>
                  </a:lnTo>
                  <a:lnTo>
                    <a:pt x="71" y="121"/>
                  </a:lnTo>
                  <a:lnTo>
                    <a:pt x="71" y="71"/>
                  </a:lnTo>
                  <a:lnTo>
                    <a:pt x="121" y="71"/>
                  </a:lnTo>
                  <a:lnTo>
                    <a:pt x="121" y="50"/>
                  </a:lnTo>
                  <a:lnTo>
                    <a:pt x="71" y="5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4" name="TextBox 43"/>
          <p:cNvSpPr txBox="1"/>
          <p:nvPr/>
        </p:nvSpPr>
        <p:spPr bwMode="gray">
          <a:xfrm>
            <a:off x="3355292" y="1335050"/>
            <a:ext cx="2336929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rgbClr val="002060"/>
                </a:solidFill>
              </a:rPr>
              <a:t>Suscripción</a:t>
            </a:r>
            <a:r>
              <a:rPr lang="en-GB" sz="1600" b="1" dirty="0" smtClean="0">
                <a:solidFill>
                  <a:srgbClr val="002060"/>
                </a:solidFill>
              </a:rPr>
              <a:t> </a:t>
            </a:r>
            <a:r>
              <a:rPr lang="en-GB" sz="1600" b="1" dirty="0" err="1" smtClean="0">
                <a:solidFill>
                  <a:srgbClr val="002060"/>
                </a:solidFill>
              </a:rPr>
              <a:t>Consciente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3721100" y="2945581"/>
            <a:ext cx="2986684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b="1" dirty="0" err="1" smtClean="0">
                <a:solidFill>
                  <a:srgbClr val="002060"/>
                </a:solidFill>
              </a:rPr>
              <a:t>Desempeño</a:t>
            </a:r>
            <a:r>
              <a:rPr lang="en-GB" sz="1200" b="1" dirty="0" smtClean="0">
                <a:solidFill>
                  <a:srgbClr val="002060"/>
                </a:solidFill>
              </a:rPr>
              <a:t> de </a:t>
            </a:r>
            <a:r>
              <a:rPr lang="en-GB" sz="1200" b="1" dirty="0" err="1" smtClean="0">
                <a:solidFill>
                  <a:srgbClr val="002060"/>
                </a:solidFill>
              </a:rPr>
              <a:t>nuestro</a:t>
            </a:r>
            <a:r>
              <a:rPr lang="en-GB" sz="1200" b="1" dirty="0" smtClean="0">
                <a:solidFill>
                  <a:srgbClr val="002060"/>
                </a:solidFill>
              </a:rPr>
              <a:t> </a:t>
            </a:r>
            <a:r>
              <a:rPr lang="en-GB" sz="1200" b="1" dirty="0" err="1" smtClean="0">
                <a:solidFill>
                  <a:srgbClr val="002060"/>
                </a:solidFill>
              </a:rPr>
              <a:t>portafolio</a:t>
            </a:r>
            <a:r>
              <a:rPr lang="en-GB" sz="1200" b="1" dirty="0" smtClean="0">
                <a:solidFill>
                  <a:srgbClr val="002060"/>
                </a:solidFill>
              </a:rPr>
              <a:t> </a:t>
            </a:r>
            <a:r>
              <a:rPr lang="en-GB" sz="1200" b="1" dirty="0" err="1" smtClean="0">
                <a:solidFill>
                  <a:srgbClr val="002060"/>
                </a:solidFill>
              </a:rPr>
              <a:t>en</a:t>
            </a:r>
            <a:r>
              <a:rPr lang="en-GB" sz="1200" b="1" dirty="0" smtClean="0">
                <a:solidFill>
                  <a:srgbClr val="002060"/>
                </a:solidFill>
              </a:rPr>
              <a:t> </a:t>
            </a:r>
            <a:r>
              <a:rPr lang="en-GB" sz="1200" b="1" dirty="0" err="1" smtClean="0">
                <a:solidFill>
                  <a:srgbClr val="002060"/>
                </a:solidFill>
              </a:rPr>
              <a:t>una</a:t>
            </a:r>
            <a:r>
              <a:rPr lang="en-GB" sz="1200" b="1" dirty="0" smtClean="0">
                <a:solidFill>
                  <a:srgbClr val="002060"/>
                </a:solidFill>
              </a:rPr>
              <a:t> forma global</a:t>
            </a:r>
            <a:endParaRPr lang="en-GB" sz="1200" b="1" dirty="0" smtClean="0">
              <a:solidFill>
                <a:srgbClr val="00206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 bwMode="gray">
          <a:xfrm>
            <a:off x="3195237" y="5422272"/>
            <a:ext cx="1950760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rgbClr val="002060"/>
                </a:solidFill>
              </a:rPr>
              <a:t>Reducción</a:t>
            </a:r>
            <a:r>
              <a:rPr lang="en-GB" sz="1600" b="1" dirty="0" smtClean="0">
                <a:solidFill>
                  <a:srgbClr val="002060"/>
                </a:solidFill>
              </a:rPr>
              <a:t> del </a:t>
            </a:r>
            <a:r>
              <a:rPr lang="en-GB" sz="1600" b="1" dirty="0" err="1" smtClean="0">
                <a:solidFill>
                  <a:srgbClr val="002060"/>
                </a:solidFill>
              </a:rPr>
              <a:t>CoC</a:t>
            </a:r>
            <a:endParaRPr lang="en-GB" sz="1600" b="1" dirty="0" smtClean="0">
              <a:solidFill>
                <a:srgbClr val="002060"/>
              </a:solidFill>
            </a:endParaRPr>
          </a:p>
        </p:txBody>
      </p:sp>
      <p:sp>
        <p:nvSpPr>
          <p:cNvPr id="47" name="Freeform: Shape 10">
            <a:extLst>
              <a:ext uri="{FF2B5EF4-FFF2-40B4-BE49-F238E27FC236}">
                <a16:creationId xmlns:a16="http://schemas.microsoft.com/office/drawing/2014/main" id="{90F83D36-EC87-48D6-BCD6-89798B235156}"/>
              </a:ext>
            </a:extLst>
          </p:cNvPr>
          <p:cNvSpPr/>
          <p:nvPr/>
        </p:nvSpPr>
        <p:spPr bwMode="gray">
          <a:xfrm flipH="1">
            <a:off x="4795305" y="3802566"/>
            <a:ext cx="2145042" cy="1366831"/>
          </a:xfrm>
          <a:custGeom>
            <a:avLst/>
            <a:gdLst>
              <a:gd name="connsiteX0" fmla="*/ 2612585 w 2612585"/>
              <a:gd name="connsiteY0" fmla="*/ 0 h 1440000"/>
              <a:gd name="connsiteX1" fmla="*/ 0 w 2612585"/>
              <a:gd name="connsiteY1" fmla="*/ 0 h 1440000"/>
              <a:gd name="connsiteX2" fmla="*/ 0 w 2612585"/>
              <a:gd name="connsiteY2" fmla="*/ 1230322 h 1440000"/>
              <a:gd name="connsiteX3" fmla="*/ 1805952 w 2612585"/>
              <a:gd name="connsiteY3" fmla="*/ 1230322 h 1440000"/>
              <a:gd name="connsiteX4" fmla="*/ 2261568 w 2612585"/>
              <a:gd name="connsiteY4" fmla="*/ 1440000 h 1440000"/>
              <a:gd name="connsiteX5" fmla="*/ 2210901 w 2612585"/>
              <a:gd name="connsiteY5" fmla="*/ 1230322 h 1440000"/>
              <a:gd name="connsiteX6" fmla="*/ 2612585 w 2612585"/>
              <a:gd name="connsiteY6" fmla="*/ 123032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585" h="1440000">
                <a:moveTo>
                  <a:pt x="2612585" y="0"/>
                </a:moveTo>
                <a:lnTo>
                  <a:pt x="0" y="0"/>
                </a:lnTo>
                <a:lnTo>
                  <a:pt x="0" y="1230322"/>
                </a:lnTo>
                <a:lnTo>
                  <a:pt x="1805952" y="1230322"/>
                </a:lnTo>
                <a:lnTo>
                  <a:pt x="2261568" y="1440000"/>
                </a:lnTo>
                <a:lnTo>
                  <a:pt x="2210901" y="1230322"/>
                </a:lnTo>
                <a:lnTo>
                  <a:pt x="2612585" y="1230322"/>
                </a:lnTo>
                <a:close/>
              </a:path>
            </a:pathLst>
          </a:custGeom>
          <a:solidFill>
            <a:schemeClr val="bg1"/>
          </a:solidFill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r>
              <a:rPr lang="en-GB" sz="1600" dirty="0" smtClean="0">
                <a:solidFill>
                  <a:srgbClr val="002060"/>
                </a:solidFill>
              </a:rPr>
              <a:t>S&amp;P: </a:t>
            </a:r>
            <a:r>
              <a:rPr lang="en-GB" sz="1600" dirty="0" smtClean="0"/>
              <a:t>	AA-</a:t>
            </a:r>
          </a:p>
          <a:p>
            <a:endParaRPr lang="en-GB" sz="1600" dirty="0"/>
          </a:p>
          <a:p>
            <a:r>
              <a:rPr lang="en-GB" sz="1600" dirty="0" smtClean="0">
                <a:solidFill>
                  <a:srgbClr val="002060"/>
                </a:solidFill>
              </a:rPr>
              <a:t>A.M. Best: </a:t>
            </a:r>
            <a:r>
              <a:rPr lang="en-GB" sz="1600" dirty="0" smtClean="0"/>
              <a:t>	A+</a:t>
            </a:r>
            <a:endParaRPr lang="en-GB" sz="1600" dirty="0"/>
          </a:p>
        </p:txBody>
      </p:sp>
      <p:grpSp>
        <p:nvGrpSpPr>
          <p:cNvPr id="48" name="Group 47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49" name="Group 48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  <a:t/>
                </a:r>
                <a:b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52" name="Picture 5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53" name="Straight Connector 52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Straight Connector 53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4735080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750551" cy="6490010"/>
            <a:chOff x="1" y="0"/>
            <a:chExt cx="6074407" cy="6490010"/>
          </a:xfrm>
        </p:grpSpPr>
        <p:grpSp>
          <p:nvGrpSpPr>
            <p:cNvPr id="6" name="Group 5"/>
            <p:cNvGrpSpPr/>
            <p:nvPr/>
          </p:nvGrpSpPr>
          <p:grpSpPr>
            <a:xfrm>
              <a:off x="1" y="0"/>
              <a:ext cx="6074407" cy="6490010"/>
              <a:chOff x="0" y="0"/>
              <a:chExt cx="9654403" cy="6490010"/>
            </a:xfrm>
            <a:solidFill>
              <a:schemeClr val="accent5"/>
            </a:solidFill>
          </p:grpSpPr>
          <p:sp>
            <p:nvSpPr>
              <p:cNvPr id="4" name="Rectangle 3"/>
              <p:cNvSpPr/>
              <p:nvPr/>
            </p:nvSpPr>
            <p:spPr bwMode="gray">
              <a:xfrm>
                <a:off x="0" y="0"/>
                <a:ext cx="9210907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5" name="Isosceles Triangle 4"/>
              <p:cNvSpPr/>
              <p:nvPr/>
            </p:nvSpPr>
            <p:spPr bwMode="gray">
              <a:xfrm rot="5400000">
                <a:off x="8860139" y="5142986"/>
                <a:ext cx="1131616" cy="456912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 bwMode="gray">
            <a:xfrm rot="16200000">
              <a:off x="4586698" y="1004759"/>
              <a:ext cx="2063130" cy="1859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Objetivos</a:t>
              </a:r>
              <a:r>
                <a:rPr lang="en-GB" sz="1600" dirty="0" smtClean="0">
                  <a:solidFill>
                    <a:srgbClr val="002060"/>
                  </a:solidFill>
                </a:rPr>
                <a:t> de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Negoci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" y="0"/>
            <a:ext cx="8591548" cy="6490010"/>
            <a:chOff x="1" y="0"/>
            <a:chExt cx="4865529" cy="6490010"/>
          </a:xfrm>
        </p:grpSpPr>
        <p:grpSp>
          <p:nvGrpSpPr>
            <p:cNvPr id="7" name="Group 6"/>
            <p:cNvGrpSpPr/>
            <p:nvPr/>
          </p:nvGrpSpPr>
          <p:grpSpPr>
            <a:xfrm>
              <a:off x="1" y="0"/>
              <a:ext cx="4865529" cy="6490010"/>
              <a:chOff x="1" y="0"/>
              <a:chExt cx="9709386" cy="649001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8" name="Rectangle 7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9" name="Isosceles Triangle 8"/>
              <p:cNvSpPr/>
              <p:nvPr/>
            </p:nvSpPr>
            <p:spPr bwMode="gray">
              <a:xfrm rot="5400000">
                <a:off x="8888335" y="4258951"/>
                <a:ext cx="1143623" cy="498480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 bwMode="gray">
            <a:xfrm rot="16200000">
              <a:off x="3424301" y="1017795"/>
              <a:ext cx="2063130" cy="15986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Desmpeño</a:t>
              </a:r>
              <a:r>
                <a:rPr lang="en-GB" sz="1600" dirty="0" smtClean="0">
                  <a:solidFill>
                    <a:srgbClr val="002060"/>
                  </a:solidFill>
                </a:rPr>
                <a:t>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Financiero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-1" y="0"/>
            <a:ext cx="7524751" cy="6490010"/>
            <a:chOff x="-1" y="0"/>
            <a:chExt cx="3993033" cy="6490010"/>
          </a:xfrm>
        </p:grpSpPr>
        <p:grpSp>
          <p:nvGrpSpPr>
            <p:cNvPr id="10" name="Group 9"/>
            <p:cNvGrpSpPr/>
            <p:nvPr/>
          </p:nvGrpSpPr>
          <p:grpSpPr>
            <a:xfrm>
              <a:off x="-1" y="0"/>
              <a:ext cx="3993033" cy="6490010"/>
              <a:chOff x="1" y="0"/>
              <a:chExt cx="9752222" cy="6490010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" name="Rectangle 10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2" name="Isosceles Triangle 11"/>
              <p:cNvSpPr/>
              <p:nvPr/>
            </p:nvSpPr>
            <p:spPr bwMode="gray">
              <a:xfrm rot="5400000">
                <a:off x="8920287" y="2978064"/>
                <a:ext cx="1122556" cy="541316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 bwMode="gray">
            <a:xfrm rot="16200000">
              <a:off x="2550870" y="1014818"/>
              <a:ext cx="2063130" cy="16582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Recursos</a:t>
              </a:r>
              <a:r>
                <a:rPr lang="en-GB" sz="1600" dirty="0" smtClean="0">
                  <a:solidFill>
                    <a:srgbClr val="002060"/>
                  </a:solidFill>
                </a:rPr>
                <a:t>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Financieros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¿</a:t>
            </a:r>
            <a:r>
              <a:rPr lang="en-GB" dirty="0" err="1" smtClean="0">
                <a:solidFill>
                  <a:schemeClr val="bg1"/>
                </a:solidFill>
              </a:rPr>
              <a:t>Qué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vamos</a:t>
            </a:r>
            <a:r>
              <a:rPr lang="en-GB" dirty="0" smtClean="0">
                <a:solidFill>
                  <a:schemeClr val="bg1"/>
                </a:solidFill>
              </a:rPr>
              <a:t> a </a:t>
            </a:r>
            <a:r>
              <a:rPr lang="en-GB" dirty="0" err="1" smtClean="0">
                <a:solidFill>
                  <a:schemeClr val="bg1"/>
                </a:solidFill>
              </a:rPr>
              <a:t>hacer</a:t>
            </a:r>
            <a:r>
              <a:rPr lang="en-GB" dirty="0" smtClean="0">
                <a:solidFill>
                  <a:schemeClr val="bg1"/>
                </a:solidFill>
              </a:rPr>
              <a:t>?</a:t>
            </a:r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/>
          <p:cNvGrpSpPr/>
          <p:nvPr/>
        </p:nvGrpSpPr>
        <p:grpSpPr>
          <a:xfrm>
            <a:off x="1" y="0"/>
            <a:ext cx="6227369" cy="6490010"/>
            <a:chOff x="1" y="0"/>
            <a:chExt cx="3114338" cy="6490010"/>
          </a:xfrm>
        </p:grpSpPr>
        <p:grpSp>
          <p:nvGrpSpPr>
            <p:cNvPr id="13" name="Group 12"/>
            <p:cNvGrpSpPr/>
            <p:nvPr/>
          </p:nvGrpSpPr>
          <p:grpSpPr>
            <a:xfrm>
              <a:off x="1" y="0"/>
              <a:ext cx="3114338" cy="6490010"/>
              <a:chOff x="1" y="0"/>
              <a:chExt cx="9761548" cy="6490010"/>
            </a:xfrm>
            <a:solidFill>
              <a:srgbClr val="002060"/>
            </a:solidFill>
          </p:grpSpPr>
          <p:sp>
            <p:nvSpPr>
              <p:cNvPr id="14" name="Rectangle 13"/>
              <p:cNvSpPr/>
              <p:nvPr/>
            </p:nvSpPr>
            <p:spPr bwMode="gray">
              <a:xfrm>
                <a:off x="1" y="0"/>
                <a:ext cx="9210906" cy="649001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  <p:sp>
            <p:nvSpPr>
              <p:cNvPr id="15" name="Isosceles Triangle 14"/>
              <p:cNvSpPr/>
              <p:nvPr/>
            </p:nvSpPr>
            <p:spPr bwMode="gray">
              <a:xfrm rot="5400000">
                <a:off x="8928667" y="1854563"/>
                <a:ext cx="1115124" cy="550641"/>
              </a:xfrm>
              <a:prstGeom prst="triangle">
                <a:avLst>
                  <a:gd name="adj" fmla="val 5102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 smtClean="0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8" name="TextBox 27"/>
            <p:cNvSpPr txBox="1"/>
            <p:nvPr/>
          </p:nvSpPr>
          <p:spPr bwMode="gray">
            <a:xfrm rot="16200000">
              <a:off x="1727404" y="1028171"/>
              <a:ext cx="2063130" cy="13911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 err="1" smtClean="0">
                  <a:solidFill>
                    <a:srgbClr val="002060"/>
                  </a:solidFill>
                </a:rPr>
                <a:t>Recursos</a:t>
              </a:r>
              <a:r>
                <a:rPr lang="en-GB" sz="1600" dirty="0" smtClean="0">
                  <a:solidFill>
                    <a:srgbClr val="002060"/>
                  </a:solidFill>
                </a:rPr>
                <a:t> </a:t>
              </a:r>
              <a:r>
                <a:rPr lang="en-GB" sz="1600" dirty="0" err="1" smtClean="0">
                  <a:solidFill>
                    <a:srgbClr val="002060"/>
                  </a:solidFill>
                </a:rPr>
                <a:t>Humanos</a:t>
              </a:r>
              <a:endParaRPr lang="en-GB" sz="16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29" name="Group 4">
            <a:extLst>
              <a:ext uri="{FF2B5EF4-FFF2-40B4-BE49-F238E27FC236}">
                <a16:creationId xmlns:a16="http://schemas.microsoft.com/office/drawing/2014/main" id="{514F435C-0B25-4685-9ABD-D93E9B6322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52466" y="2931717"/>
            <a:ext cx="1394134" cy="1385422"/>
            <a:chOff x="3601" y="1922"/>
            <a:chExt cx="480" cy="477"/>
          </a:xfrm>
          <a:solidFill>
            <a:schemeClr val="bg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E4AE5FBC-D81A-4744-BFF8-50B4E28EAB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8" y="2078"/>
              <a:ext cx="109" cy="111"/>
            </a:xfrm>
            <a:custGeom>
              <a:avLst/>
              <a:gdLst>
                <a:gd name="T0" fmla="*/ 54 w 109"/>
                <a:gd name="T1" fmla="*/ 0 h 111"/>
                <a:gd name="T2" fmla="*/ 54 w 109"/>
                <a:gd name="T3" fmla="*/ 0 h 111"/>
                <a:gd name="T4" fmla="*/ 43 w 109"/>
                <a:gd name="T5" fmla="*/ 1 h 111"/>
                <a:gd name="T6" fmla="*/ 33 w 109"/>
                <a:gd name="T7" fmla="*/ 4 h 111"/>
                <a:gd name="T8" fmla="*/ 24 w 109"/>
                <a:gd name="T9" fmla="*/ 10 h 111"/>
                <a:gd name="T10" fmla="*/ 15 w 109"/>
                <a:gd name="T11" fmla="*/ 16 h 111"/>
                <a:gd name="T12" fmla="*/ 9 w 109"/>
                <a:gd name="T13" fmla="*/ 24 h 111"/>
                <a:gd name="T14" fmla="*/ 4 w 109"/>
                <a:gd name="T15" fmla="*/ 34 h 111"/>
                <a:gd name="T16" fmla="*/ 1 w 109"/>
                <a:gd name="T17" fmla="*/ 45 h 111"/>
                <a:gd name="T18" fmla="*/ 0 w 109"/>
                <a:gd name="T19" fmla="*/ 55 h 111"/>
                <a:gd name="T20" fmla="*/ 0 w 109"/>
                <a:gd name="T21" fmla="*/ 55 h 111"/>
                <a:gd name="T22" fmla="*/ 1 w 109"/>
                <a:gd name="T23" fmla="*/ 67 h 111"/>
                <a:gd name="T24" fmla="*/ 4 w 109"/>
                <a:gd name="T25" fmla="*/ 77 h 111"/>
                <a:gd name="T26" fmla="*/ 9 w 109"/>
                <a:gd name="T27" fmla="*/ 86 h 111"/>
                <a:gd name="T28" fmla="*/ 15 w 109"/>
                <a:gd name="T29" fmla="*/ 94 h 111"/>
                <a:gd name="T30" fmla="*/ 24 w 109"/>
                <a:gd name="T31" fmla="*/ 101 h 111"/>
                <a:gd name="T32" fmla="*/ 33 w 109"/>
                <a:gd name="T33" fmla="*/ 106 h 111"/>
                <a:gd name="T34" fmla="*/ 43 w 109"/>
                <a:gd name="T35" fmla="*/ 109 h 111"/>
                <a:gd name="T36" fmla="*/ 54 w 109"/>
                <a:gd name="T37" fmla="*/ 111 h 111"/>
                <a:gd name="T38" fmla="*/ 54 w 109"/>
                <a:gd name="T39" fmla="*/ 111 h 111"/>
                <a:gd name="T40" fmla="*/ 65 w 109"/>
                <a:gd name="T41" fmla="*/ 109 h 111"/>
                <a:gd name="T42" fmla="*/ 76 w 109"/>
                <a:gd name="T43" fmla="*/ 106 h 111"/>
                <a:gd name="T44" fmla="*/ 85 w 109"/>
                <a:gd name="T45" fmla="*/ 101 h 111"/>
                <a:gd name="T46" fmla="*/ 94 w 109"/>
                <a:gd name="T47" fmla="*/ 94 h 111"/>
                <a:gd name="T48" fmla="*/ 100 w 109"/>
                <a:gd name="T49" fmla="*/ 86 h 111"/>
                <a:gd name="T50" fmla="*/ 105 w 109"/>
                <a:gd name="T51" fmla="*/ 77 h 111"/>
                <a:gd name="T52" fmla="*/ 108 w 109"/>
                <a:gd name="T53" fmla="*/ 67 h 111"/>
                <a:gd name="T54" fmla="*/ 109 w 109"/>
                <a:gd name="T55" fmla="*/ 55 h 111"/>
                <a:gd name="T56" fmla="*/ 109 w 109"/>
                <a:gd name="T57" fmla="*/ 55 h 111"/>
                <a:gd name="T58" fmla="*/ 108 w 109"/>
                <a:gd name="T59" fmla="*/ 45 h 111"/>
                <a:gd name="T60" fmla="*/ 105 w 109"/>
                <a:gd name="T61" fmla="*/ 34 h 111"/>
                <a:gd name="T62" fmla="*/ 100 w 109"/>
                <a:gd name="T63" fmla="*/ 24 h 111"/>
                <a:gd name="T64" fmla="*/ 94 w 109"/>
                <a:gd name="T65" fmla="*/ 16 h 111"/>
                <a:gd name="T66" fmla="*/ 85 w 109"/>
                <a:gd name="T67" fmla="*/ 10 h 111"/>
                <a:gd name="T68" fmla="*/ 76 w 109"/>
                <a:gd name="T69" fmla="*/ 4 h 111"/>
                <a:gd name="T70" fmla="*/ 65 w 109"/>
                <a:gd name="T71" fmla="*/ 1 h 111"/>
                <a:gd name="T72" fmla="*/ 54 w 109"/>
                <a:gd name="T73" fmla="*/ 0 h 111"/>
                <a:gd name="T74" fmla="*/ 54 w 109"/>
                <a:gd name="T75" fmla="*/ 0 h 111"/>
                <a:gd name="T76" fmla="*/ 54 w 109"/>
                <a:gd name="T77" fmla="*/ 90 h 111"/>
                <a:gd name="T78" fmla="*/ 54 w 109"/>
                <a:gd name="T79" fmla="*/ 90 h 111"/>
                <a:gd name="T80" fmla="*/ 48 w 109"/>
                <a:gd name="T81" fmla="*/ 90 h 111"/>
                <a:gd name="T82" fmla="*/ 43 w 109"/>
                <a:gd name="T83" fmla="*/ 88 h 111"/>
                <a:gd name="T84" fmla="*/ 40 w 109"/>
                <a:gd name="T85" fmla="*/ 85 h 111"/>
                <a:gd name="T86" fmla="*/ 39 w 109"/>
                <a:gd name="T87" fmla="*/ 81 h 111"/>
                <a:gd name="T88" fmla="*/ 70 w 109"/>
                <a:gd name="T89" fmla="*/ 81 h 111"/>
                <a:gd name="T90" fmla="*/ 70 w 109"/>
                <a:gd name="T91" fmla="*/ 81 h 111"/>
                <a:gd name="T92" fmla="*/ 69 w 109"/>
                <a:gd name="T93" fmla="*/ 85 h 111"/>
                <a:gd name="T94" fmla="*/ 65 w 109"/>
                <a:gd name="T95" fmla="*/ 88 h 111"/>
                <a:gd name="T96" fmla="*/ 61 w 109"/>
                <a:gd name="T97" fmla="*/ 90 h 111"/>
                <a:gd name="T98" fmla="*/ 54 w 109"/>
                <a:gd name="T99" fmla="*/ 90 h 111"/>
                <a:gd name="T100" fmla="*/ 54 w 109"/>
                <a:gd name="T101" fmla="*/ 9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9" h="111">
                  <a:moveTo>
                    <a:pt x="54" y="0"/>
                  </a:moveTo>
                  <a:lnTo>
                    <a:pt x="54" y="0"/>
                  </a:lnTo>
                  <a:lnTo>
                    <a:pt x="43" y="1"/>
                  </a:lnTo>
                  <a:lnTo>
                    <a:pt x="33" y="4"/>
                  </a:lnTo>
                  <a:lnTo>
                    <a:pt x="24" y="10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4"/>
                  </a:lnTo>
                  <a:lnTo>
                    <a:pt x="1" y="4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1" y="67"/>
                  </a:lnTo>
                  <a:lnTo>
                    <a:pt x="4" y="77"/>
                  </a:lnTo>
                  <a:lnTo>
                    <a:pt x="9" y="86"/>
                  </a:lnTo>
                  <a:lnTo>
                    <a:pt x="15" y="94"/>
                  </a:lnTo>
                  <a:lnTo>
                    <a:pt x="24" y="101"/>
                  </a:lnTo>
                  <a:lnTo>
                    <a:pt x="33" y="106"/>
                  </a:lnTo>
                  <a:lnTo>
                    <a:pt x="43" y="109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65" y="109"/>
                  </a:lnTo>
                  <a:lnTo>
                    <a:pt x="76" y="106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6"/>
                  </a:lnTo>
                  <a:lnTo>
                    <a:pt x="105" y="77"/>
                  </a:lnTo>
                  <a:lnTo>
                    <a:pt x="108" y="67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8" y="45"/>
                  </a:lnTo>
                  <a:lnTo>
                    <a:pt x="105" y="34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10"/>
                  </a:lnTo>
                  <a:lnTo>
                    <a:pt x="76" y="4"/>
                  </a:lnTo>
                  <a:lnTo>
                    <a:pt x="65" y="1"/>
                  </a:lnTo>
                  <a:lnTo>
                    <a:pt x="54" y="0"/>
                  </a:lnTo>
                  <a:lnTo>
                    <a:pt x="54" y="0"/>
                  </a:lnTo>
                  <a:close/>
                  <a:moveTo>
                    <a:pt x="54" y="90"/>
                  </a:moveTo>
                  <a:lnTo>
                    <a:pt x="54" y="90"/>
                  </a:lnTo>
                  <a:lnTo>
                    <a:pt x="48" y="90"/>
                  </a:lnTo>
                  <a:lnTo>
                    <a:pt x="43" y="88"/>
                  </a:lnTo>
                  <a:lnTo>
                    <a:pt x="40" y="85"/>
                  </a:lnTo>
                  <a:lnTo>
                    <a:pt x="39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69" y="85"/>
                  </a:lnTo>
                  <a:lnTo>
                    <a:pt x="65" y="88"/>
                  </a:lnTo>
                  <a:lnTo>
                    <a:pt x="61" y="90"/>
                  </a:lnTo>
                  <a:lnTo>
                    <a:pt x="54" y="90"/>
                  </a:lnTo>
                  <a:lnTo>
                    <a:pt x="5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08371B7-2019-437C-9162-C738B302EE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5" y="2078"/>
              <a:ext cx="109" cy="111"/>
            </a:xfrm>
            <a:custGeom>
              <a:avLst/>
              <a:gdLst>
                <a:gd name="T0" fmla="*/ 55 w 109"/>
                <a:gd name="T1" fmla="*/ 0 h 111"/>
                <a:gd name="T2" fmla="*/ 55 w 109"/>
                <a:gd name="T3" fmla="*/ 0 h 111"/>
                <a:gd name="T4" fmla="*/ 43 w 109"/>
                <a:gd name="T5" fmla="*/ 1 h 111"/>
                <a:gd name="T6" fmla="*/ 33 w 109"/>
                <a:gd name="T7" fmla="*/ 4 h 111"/>
                <a:gd name="T8" fmla="*/ 24 w 109"/>
                <a:gd name="T9" fmla="*/ 10 h 111"/>
                <a:gd name="T10" fmla="*/ 15 w 109"/>
                <a:gd name="T11" fmla="*/ 16 h 111"/>
                <a:gd name="T12" fmla="*/ 9 w 109"/>
                <a:gd name="T13" fmla="*/ 24 h 111"/>
                <a:gd name="T14" fmla="*/ 4 w 109"/>
                <a:gd name="T15" fmla="*/ 34 h 111"/>
                <a:gd name="T16" fmla="*/ 1 w 109"/>
                <a:gd name="T17" fmla="*/ 45 h 111"/>
                <a:gd name="T18" fmla="*/ 0 w 109"/>
                <a:gd name="T19" fmla="*/ 55 h 111"/>
                <a:gd name="T20" fmla="*/ 0 w 109"/>
                <a:gd name="T21" fmla="*/ 55 h 111"/>
                <a:gd name="T22" fmla="*/ 1 w 109"/>
                <a:gd name="T23" fmla="*/ 67 h 111"/>
                <a:gd name="T24" fmla="*/ 4 w 109"/>
                <a:gd name="T25" fmla="*/ 77 h 111"/>
                <a:gd name="T26" fmla="*/ 9 w 109"/>
                <a:gd name="T27" fmla="*/ 86 h 111"/>
                <a:gd name="T28" fmla="*/ 15 w 109"/>
                <a:gd name="T29" fmla="*/ 94 h 111"/>
                <a:gd name="T30" fmla="*/ 24 w 109"/>
                <a:gd name="T31" fmla="*/ 101 h 111"/>
                <a:gd name="T32" fmla="*/ 33 w 109"/>
                <a:gd name="T33" fmla="*/ 106 h 111"/>
                <a:gd name="T34" fmla="*/ 43 w 109"/>
                <a:gd name="T35" fmla="*/ 109 h 111"/>
                <a:gd name="T36" fmla="*/ 55 w 109"/>
                <a:gd name="T37" fmla="*/ 111 h 111"/>
                <a:gd name="T38" fmla="*/ 55 w 109"/>
                <a:gd name="T39" fmla="*/ 111 h 111"/>
                <a:gd name="T40" fmla="*/ 65 w 109"/>
                <a:gd name="T41" fmla="*/ 109 h 111"/>
                <a:gd name="T42" fmla="*/ 76 w 109"/>
                <a:gd name="T43" fmla="*/ 106 h 111"/>
                <a:gd name="T44" fmla="*/ 85 w 109"/>
                <a:gd name="T45" fmla="*/ 101 h 111"/>
                <a:gd name="T46" fmla="*/ 94 w 109"/>
                <a:gd name="T47" fmla="*/ 94 h 111"/>
                <a:gd name="T48" fmla="*/ 100 w 109"/>
                <a:gd name="T49" fmla="*/ 86 h 111"/>
                <a:gd name="T50" fmla="*/ 105 w 109"/>
                <a:gd name="T51" fmla="*/ 77 h 111"/>
                <a:gd name="T52" fmla="*/ 108 w 109"/>
                <a:gd name="T53" fmla="*/ 67 h 111"/>
                <a:gd name="T54" fmla="*/ 109 w 109"/>
                <a:gd name="T55" fmla="*/ 55 h 111"/>
                <a:gd name="T56" fmla="*/ 109 w 109"/>
                <a:gd name="T57" fmla="*/ 55 h 111"/>
                <a:gd name="T58" fmla="*/ 108 w 109"/>
                <a:gd name="T59" fmla="*/ 45 h 111"/>
                <a:gd name="T60" fmla="*/ 105 w 109"/>
                <a:gd name="T61" fmla="*/ 34 h 111"/>
                <a:gd name="T62" fmla="*/ 100 w 109"/>
                <a:gd name="T63" fmla="*/ 24 h 111"/>
                <a:gd name="T64" fmla="*/ 94 w 109"/>
                <a:gd name="T65" fmla="*/ 16 h 111"/>
                <a:gd name="T66" fmla="*/ 85 w 109"/>
                <a:gd name="T67" fmla="*/ 10 h 111"/>
                <a:gd name="T68" fmla="*/ 76 w 109"/>
                <a:gd name="T69" fmla="*/ 4 h 111"/>
                <a:gd name="T70" fmla="*/ 65 w 109"/>
                <a:gd name="T71" fmla="*/ 1 h 111"/>
                <a:gd name="T72" fmla="*/ 55 w 109"/>
                <a:gd name="T73" fmla="*/ 0 h 111"/>
                <a:gd name="T74" fmla="*/ 55 w 109"/>
                <a:gd name="T75" fmla="*/ 0 h 111"/>
                <a:gd name="T76" fmla="*/ 55 w 109"/>
                <a:gd name="T77" fmla="*/ 92 h 111"/>
                <a:gd name="T78" fmla="*/ 55 w 109"/>
                <a:gd name="T79" fmla="*/ 92 h 111"/>
                <a:gd name="T80" fmla="*/ 47 w 109"/>
                <a:gd name="T81" fmla="*/ 91 h 111"/>
                <a:gd name="T82" fmla="*/ 41 w 109"/>
                <a:gd name="T83" fmla="*/ 88 h 111"/>
                <a:gd name="T84" fmla="*/ 38 w 109"/>
                <a:gd name="T85" fmla="*/ 86 h 111"/>
                <a:gd name="T86" fmla="*/ 37 w 109"/>
                <a:gd name="T87" fmla="*/ 83 h 111"/>
                <a:gd name="T88" fmla="*/ 35 w 109"/>
                <a:gd name="T89" fmla="*/ 79 h 111"/>
                <a:gd name="T90" fmla="*/ 34 w 109"/>
                <a:gd name="T91" fmla="*/ 76 h 111"/>
                <a:gd name="T92" fmla="*/ 75 w 109"/>
                <a:gd name="T93" fmla="*/ 76 h 111"/>
                <a:gd name="T94" fmla="*/ 75 w 109"/>
                <a:gd name="T95" fmla="*/ 76 h 111"/>
                <a:gd name="T96" fmla="*/ 74 w 109"/>
                <a:gd name="T97" fmla="*/ 79 h 111"/>
                <a:gd name="T98" fmla="*/ 72 w 109"/>
                <a:gd name="T99" fmla="*/ 83 h 111"/>
                <a:gd name="T100" fmla="*/ 70 w 109"/>
                <a:gd name="T101" fmla="*/ 86 h 111"/>
                <a:gd name="T102" fmla="*/ 68 w 109"/>
                <a:gd name="T103" fmla="*/ 88 h 111"/>
                <a:gd name="T104" fmla="*/ 62 w 109"/>
                <a:gd name="T105" fmla="*/ 91 h 111"/>
                <a:gd name="T106" fmla="*/ 55 w 109"/>
                <a:gd name="T107" fmla="*/ 92 h 111"/>
                <a:gd name="T108" fmla="*/ 55 w 109"/>
                <a:gd name="T109" fmla="*/ 9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9" h="111">
                  <a:moveTo>
                    <a:pt x="55" y="0"/>
                  </a:moveTo>
                  <a:lnTo>
                    <a:pt x="55" y="0"/>
                  </a:lnTo>
                  <a:lnTo>
                    <a:pt x="43" y="1"/>
                  </a:lnTo>
                  <a:lnTo>
                    <a:pt x="33" y="4"/>
                  </a:lnTo>
                  <a:lnTo>
                    <a:pt x="24" y="10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4"/>
                  </a:lnTo>
                  <a:lnTo>
                    <a:pt x="1" y="4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1" y="67"/>
                  </a:lnTo>
                  <a:lnTo>
                    <a:pt x="4" y="77"/>
                  </a:lnTo>
                  <a:lnTo>
                    <a:pt x="9" y="86"/>
                  </a:lnTo>
                  <a:lnTo>
                    <a:pt x="15" y="94"/>
                  </a:lnTo>
                  <a:lnTo>
                    <a:pt x="24" y="101"/>
                  </a:lnTo>
                  <a:lnTo>
                    <a:pt x="33" y="106"/>
                  </a:lnTo>
                  <a:lnTo>
                    <a:pt x="43" y="109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65" y="109"/>
                  </a:lnTo>
                  <a:lnTo>
                    <a:pt x="76" y="106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6"/>
                  </a:lnTo>
                  <a:lnTo>
                    <a:pt x="105" y="77"/>
                  </a:lnTo>
                  <a:lnTo>
                    <a:pt x="108" y="67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8" y="45"/>
                  </a:lnTo>
                  <a:lnTo>
                    <a:pt x="105" y="34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10"/>
                  </a:lnTo>
                  <a:lnTo>
                    <a:pt x="76" y="4"/>
                  </a:lnTo>
                  <a:lnTo>
                    <a:pt x="65" y="1"/>
                  </a:lnTo>
                  <a:lnTo>
                    <a:pt x="55" y="0"/>
                  </a:lnTo>
                  <a:lnTo>
                    <a:pt x="55" y="0"/>
                  </a:lnTo>
                  <a:close/>
                  <a:moveTo>
                    <a:pt x="55" y="92"/>
                  </a:moveTo>
                  <a:lnTo>
                    <a:pt x="55" y="92"/>
                  </a:lnTo>
                  <a:lnTo>
                    <a:pt x="47" y="91"/>
                  </a:lnTo>
                  <a:lnTo>
                    <a:pt x="41" y="88"/>
                  </a:lnTo>
                  <a:lnTo>
                    <a:pt x="38" y="86"/>
                  </a:lnTo>
                  <a:lnTo>
                    <a:pt x="37" y="83"/>
                  </a:lnTo>
                  <a:lnTo>
                    <a:pt x="35" y="79"/>
                  </a:lnTo>
                  <a:lnTo>
                    <a:pt x="34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4" y="79"/>
                  </a:lnTo>
                  <a:lnTo>
                    <a:pt x="72" y="83"/>
                  </a:lnTo>
                  <a:lnTo>
                    <a:pt x="70" y="86"/>
                  </a:lnTo>
                  <a:lnTo>
                    <a:pt x="68" y="88"/>
                  </a:lnTo>
                  <a:lnTo>
                    <a:pt x="62" y="91"/>
                  </a:lnTo>
                  <a:lnTo>
                    <a:pt x="55" y="92"/>
                  </a:lnTo>
                  <a:lnTo>
                    <a:pt x="5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0E01B315-07ED-4B25-A423-5F841064C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" y="1922"/>
              <a:ext cx="154" cy="115"/>
            </a:xfrm>
            <a:custGeom>
              <a:avLst/>
              <a:gdLst>
                <a:gd name="T0" fmla="*/ 77 w 154"/>
                <a:gd name="T1" fmla="*/ 0 h 115"/>
                <a:gd name="T2" fmla="*/ 77 w 154"/>
                <a:gd name="T3" fmla="*/ 0 h 115"/>
                <a:gd name="T4" fmla="*/ 61 w 154"/>
                <a:gd name="T5" fmla="*/ 1 h 115"/>
                <a:gd name="T6" fmla="*/ 46 w 154"/>
                <a:gd name="T7" fmla="*/ 4 h 115"/>
                <a:gd name="T8" fmla="*/ 33 w 154"/>
                <a:gd name="T9" fmla="*/ 9 h 115"/>
                <a:gd name="T10" fmla="*/ 22 w 154"/>
                <a:gd name="T11" fmla="*/ 16 h 115"/>
                <a:gd name="T12" fmla="*/ 12 w 154"/>
                <a:gd name="T13" fmla="*/ 23 h 115"/>
                <a:gd name="T14" fmla="*/ 8 w 154"/>
                <a:gd name="T15" fmla="*/ 28 h 115"/>
                <a:gd name="T16" fmla="*/ 5 w 154"/>
                <a:gd name="T17" fmla="*/ 33 h 115"/>
                <a:gd name="T18" fmla="*/ 3 w 154"/>
                <a:gd name="T19" fmla="*/ 38 h 115"/>
                <a:gd name="T20" fmla="*/ 1 w 154"/>
                <a:gd name="T21" fmla="*/ 43 h 115"/>
                <a:gd name="T22" fmla="*/ 0 w 154"/>
                <a:gd name="T23" fmla="*/ 49 h 115"/>
                <a:gd name="T24" fmla="*/ 0 w 154"/>
                <a:gd name="T25" fmla="*/ 54 h 115"/>
                <a:gd name="T26" fmla="*/ 0 w 154"/>
                <a:gd name="T27" fmla="*/ 54 h 115"/>
                <a:gd name="T28" fmla="*/ 1 w 154"/>
                <a:gd name="T29" fmla="*/ 63 h 115"/>
                <a:gd name="T30" fmla="*/ 4 w 154"/>
                <a:gd name="T31" fmla="*/ 73 h 115"/>
                <a:gd name="T32" fmla="*/ 9 w 154"/>
                <a:gd name="T33" fmla="*/ 81 h 115"/>
                <a:gd name="T34" fmla="*/ 17 w 154"/>
                <a:gd name="T35" fmla="*/ 89 h 115"/>
                <a:gd name="T36" fmla="*/ 17 w 154"/>
                <a:gd name="T37" fmla="*/ 115 h 115"/>
                <a:gd name="T38" fmla="*/ 40 w 154"/>
                <a:gd name="T39" fmla="*/ 101 h 115"/>
                <a:gd name="T40" fmla="*/ 40 w 154"/>
                <a:gd name="T41" fmla="*/ 101 h 115"/>
                <a:gd name="T42" fmla="*/ 48 w 154"/>
                <a:gd name="T43" fmla="*/ 104 h 115"/>
                <a:gd name="T44" fmla="*/ 57 w 154"/>
                <a:gd name="T45" fmla="*/ 107 h 115"/>
                <a:gd name="T46" fmla="*/ 66 w 154"/>
                <a:gd name="T47" fmla="*/ 108 h 115"/>
                <a:gd name="T48" fmla="*/ 77 w 154"/>
                <a:gd name="T49" fmla="*/ 108 h 115"/>
                <a:gd name="T50" fmla="*/ 77 w 154"/>
                <a:gd name="T51" fmla="*/ 108 h 115"/>
                <a:gd name="T52" fmla="*/ 92 w 154"/>
                <a:gd name="T53" fmla="*/ 107 h 115"/>
                <a:gd name="T54" fmla="*/ 106 w 154"/>
                <a:gd name="T55" fmla="*/ 103 h 115"/>
                <a:gd name="T56" fmla="*/ 119 w 154"/>
                <a:gd name="T57" fmla="*/ 98 h 115"/>
                <a:gd name="T58" fmla="*/ 131 w 154"/>
                <a:gd name="T59" fmla="*/ 92 h 115"/>
                <a:gd name="T60" fmla="*/ 140 w 154"/>
                <a:gd name="T61" fmla="*/ 84 h 115"/>
                <a:gd name="T62" fmla="*/ 144 w 154"/>
                <a:gd name="T63" fmla="*/ 79 h 115"/>
                <a:gd name="T64" fmla="*/ 148 w 154"/>
                <a:gd name="T65" fmla="*/ 75 h 115"/>
                <a:gd name="T66" fmla="*/ 150 w 154"/>
                <a:gd name="T67" fmla="*/ 70 h 115"/>
                <a:gd name="T68" fmla="*/ 152 w 154"/>
                <a:gd name="T69" fmla="*/ 64 h 115"/>
                <a:gd name="T70" fmla="*/ 153 w 154"/>
                <a:gd name="T71" fmla="*/ 59 h 115"/>
                <a:gd name="T72" fmla="*/ 154 w 154"/>
                <a:gd name="T73" fmla="*/ 54 h 115"/>
                <a:gd name="T74" fmla="*/ 154 w 154"/>
                <a:gd name="T75" fmla="*/ 54 h 115"/>
                <a:gd name="T76" fmla="*/ 153 w 154"/>
                <a:gd name="T77" fmla="*/ 49 h 115"/>
                <a:gd name="T78" fmla="*/ 152 w 154"/>
                <a:gd name="T79" fmla="*/ 43 h 115"/>
                <a:gd name="T80" fmla="*/ 150 w 154"/>
                <a:gd name="T81" fmla="*/ 38 h 115"/>
                <a:gd name="T82" fmla="*/ 148 w 154"/>
                <a:gd name="T83" fmla="*/ 33 h 115"/>
                <a:gd name="T84" fmla="*/ 144 w 154"/>
                <a:gd name="T85" fmla="*/ 28 h 115"/>
                <a:gd name="T86" fmla="*/ 140 w 154"/>
                <a:gd name="T87" fmla="*/ 23 h 115"/>
                <a:gd name="T88" fmla="*/ 131 w 154"/>
                <a:gd name="T89" fmla="*/ 16 h 115"/>
                <a:gd name="T90" fmla="*/ 119 w 154"/>
                <a:gd name="T91" fmla="*/ 9 h 115"/>
                <a:gd name="T92" fmla="*/ 106 w 154"/>
                <a:gd name="T93" fmla="*/ 4 h 115"/>
                <a:gd name="T94" fmla="*/ 92 w 154"/>
                <a:gd name="T95" fmla="*/ 1 h 115"/>
                <a:gd name="T96" fmla="*/ 77 w 154"/>
                <a:gd name="T97" fmla="*/ 0 h 115"/>
                <a:gd name="T98" fmla="*/ 77 w 154"/>
                <a:gd name="T9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4" h="115">
                  <a:moveTo>
                    <a:pt x="77" y="0"/>
                  </a:moveTo>
                  <a:lnTo>
                    <a:pt x="77" y="0"/>
                  </a:lnTo>
                  <a:lnTo>
                    <a:pt x="61" y="1"/>
                  </a:lnTo>
                  <a:lnTo>
                    <a:pt x="46" y="4"/>
                  </a:lnTo>
                  <a:lnTo>
                    <a:pt x="33" y="9"/>
                  </a:lnTo>
                  <a:lnTo>
                    <a:pt x="22" y="16"/>
                  </a:lnTo>
                  <a:lnTo>
                    <a:pt x="12" y="23"/>
                  </a:lnTo>
                  <a:lnTo>
                    <a:pt x="8" y="28"/>
                  </a:lnTo>
                  <a:lnTo>
                    <a:pt x="5" y="33"/>
                  </a:lnTo>
                  <a:lnTo>
                    <a:pt x="3" y="38"/>
                  </a:lnTo>
                  <a:lnTo>
                    <a:pt x="1" y="43"/>
                  </a:lnTo>
                  <a:lnTo>
                    <a:pt x="0" y="49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1" y="63"/>
                  </a:lnTo>
                  <a:lnTo>
                    <a:pt x="4" y="73"/>
                  </a:lnTo>
                  <a:lnTo>
                    <a:pt x="9" y="81"/>
                  </a:lnTo>
                  <a:lnTo>
                    <a:pt x="17" y="89"/>
                  </a:lnTo>
                  <a:lnTo>
                    <a:pt x="17" y="115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8" y="104"/>
                  </a:lnTo>
                  <a:lnTo>
                    <a:pt x="57" y="107"/>
                  </a:lnTo>
                  <a:lnTo>
                    <a:pt x="66" y="108"/>
                  </a:lnTo>
                  <a:lnTo>
                    <a:pt x="77" y="108"/>
                  </a:lnTo>
                  <a:lnTo>
                    <a:pt x="77" y="108"/>
                  </a:lnTo>
                  <a:lnTo>
                    <a:pt x="92" y="107"/>
                  </a:lnTo>
                  <a:lnTo>
                    <a:pt x="106" y="103"/>
                  </a:lnTo>
                  <a:lnTo>
                    <a:pt x="119" y="98"/>
                  </a:lnTo>
                  <a:lnTo>
                    <a:pt x="131" y="92"/>
                  </a:lnTo>
                  <a:lnTo>
                    <a:pt x="140" y="84"/>
                  </a:lnTo>
                  <a:lnTo>
                    <a:pt x="144" y="79"/>
                  </a:lnTo>
                  <a:lnTo>
                    <a:pt x="148" y="75"/>
                  </a:lnTo>
                  <a:lnTo>
                    <a:pt x="150" y="70"/>
                  </a:lnTo>
                  <a:lnTo>
                    <a:pt x="152" y="64"/>
                  </a:lnTo>
                  <a:lnTo>
                    <a:pt x="153" y="59"/>
                  </a:lnTo>
                  <a:lnTo>
                    <a:pt x="154" y="54"/>
                  </a:lnTo>
                  <a:lnTo>
                    <a:pt x="154" y="54"/>
                  </a:lnTo>
                  <a:lnTo>
                    <a:pt x="153" y="49"/>
                  </a:lnTo>
                  <a:lnTo>
                    <a:pt x="152" y="43"/>
                  </a:lnTo>
                  <a:lnTo>
                    <a:pt x="150" y="38"/>
                  </a:lnTo>
                  <a:lnTo>
                    <a:pt x="148" y="33"/>
                  </a:lnTo>
                  <a:lnTo>
                    <a:pt x="144" y="28"/>
                  </a:lnTo>
                  <a:lnTo>
                    <a:pt x="140" y="23"/>
                  </a:lnTo>
                  <a:lnTo>
                    <a:pt x="131" y="16"/>
                  </a:lnTo>
                  <a:lnTo>
                    <a:pt x="119" y="9"/>
                  </a:lnTo>
                  <a:lnTo>
                    <a:pt x="106" y="4"/>
                  </a:lnTo>
                  <a:lnTo>
                    <a:pt x="92" y="1"/>
                  </a:lnTo>
                  <a:lnTo>
                    <a:pt x="77" y="0"/>
                  </a:lnTo>
                  <a:lnTo>
                    <a:pt x="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2D36E852-E359-4A3D-ADBF-CEDEFF2BB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" y="2030"/>
              <a:ext cx="102" cy="80"/>
            </a:xfrm>
            <a:custGeom>
              <a:avLst/>
              <a:gdLst>
                <a:gd name="T0" fmla="*/ 102 w 102"/>
                <a:gd name="T1" fmla="*/ 36 h 80"/>
                <a:gd name="T2" fmla="*/ 102 w 102"/>
                <a:gd name="T3" fmla="*/ 36 h 80"/>
                <a:gd name="T4" fmla="*/ 101 w 102"/>
                <a:gd name="T5" fmla="*/ 28 h 80"/>
                <a:gd name="T6" fmla="*/ 99 w 102"/>
                <a:gd name="T7" fmla="*/ 22 h 80"/>
                <a:gd name="T8" fmla="*/ 94 w 102"/>
                <a:gd name="T9" fmla="*/ 15 h 80"/>
                <a:gd name="T10" fmla="*/ 87 w 102"/>
                <a:gd name="T11" fmla="*/ 10 h 80"/>
                <a:gd name="T12" fmla="*/ 80 w 102"/>
                <a:gd name="T13" fmla="*/ 6 h 80"/>
                <a:gd name="T14" fmla="*/ 71 w 102"/>
                <a:gd name="T15" fmla="*/ 3 h 80"/>
                <a:gd name="T16" fmla="*/ 62 w 102"/>
                <a:gd name="T17" fmla="*/ 1 h 80"/>
                <a:gd name="T18" fmla="*/ 51 w 102"/>
                <a:gd name="T19" fmla="*/ 0 h 80"/>
                <a:gd name="T20" fmla="*/ 51 w 102"/>
                <a:gd name="T21" fmla="*/ 0 h 80"/>
                <a:gd name="T22" fmla="*/ 41 w 102"/>
                <a:gd name="T23" fmla="*/ 1 h 80"/>
                <a:gd name="T24" fmla="*/ 31 w 102"/>
                <a:gd name="T25" fmla="*/ 3 h 80"/>
                <a:gd name="T26" fmla="*/ 23 w 102"/>
                <a:gd name="T27" fmla="*/ 6 h 80"/>
                <a:gd name="T28" fmla="*/ 14 w 102"/>
                <a:gd name="T29" fmla="*/ 10 h 80"/>
                <a:gd name="T30" fmla="*/ 8 w 102"/>
                <a:gd name="T31" fmla="*/ 15 h 80"/>
                <a:gd name="T32" fmla="*/ 4 w 102"/>
                <a:gd name="T33" fmla="*/ 22 h 80"/>
                <a:gd name="T34" fmla="*/ 1 w 102"/>
                <a:gd name="T35" fmla="*/ 28 h 80"/>
                <a:gd name="T36" fmla="*/ 0 w 102"/>
                <a:gd name="T37" fmla="*/ 36 h 80"/>
                <a:gd name="T38" fmla="*/ 0 w 102"/>
                <a:gd name="T39" fmla="*/ 36 h 80"/>
                <a:gd name="T40" fmla="*/ 1 w 102"/>
                <a:gd name="T41" fmla="*/ 43 h 80"/>
                <a:gd name="T42" fmla="*/ 4 w 102"/>
                <a:gd name="T43" fmla="*/ 49 h 80"/>
                <a:gd name="T44" fmla="*/ 8 w 102"/>
                <a:gd name="T45" fmla="*/ 56 h 80"/>
                <a:gd name="T46" fmla="*/ 14 w 102"/>
                <a:gd name="T47" fmla="*/ 61 h 80"/>
                <a:gd name="T48" fmla="*/ 23 w 102"/>
                <a:gd name="T49" fmla="*/ 65 h 80"/>
                <a:gd name="T50" fmla="*/ 31 w 102"/>
                <a:gd name="T51" fmla="*/ 69 h 80"/>
                <a:gd name="T52" fmla="*/ 41 w 102"/>
                <a:gd name="T53" fmla="*/ 70 h 80"/>
                <a:gd name="T54" fmla="*/ 51 w 102"/>
                <a:gd name="T55" fmla="*/ 71 h 80"/>
                <a:gd name="T56" fmla="*/ 51 w 102"/>
                <a:gd name="T57" fmla="*/ 71 h 80"/>
                <a:gd name="T58" fmla="*/ 62 w 102"/>
                <a:gd name="T59" fmla="*/ 70 h 80"/>
                <a:gd name="T60" fmla="*/ 71 w 102"/>
                <a:gd name="T61" fmla="*/ 68 h 80"/>
                <a:gd name="T62" fmla="*/ 90 w 102"/>
                <a:gd name="T63" fmla="*/ 80 h 80"/>
                <a:gd name="T64" fmla="*/ 90 w 102"/>
                <a:gd name="T65" fmla="*/ 59 h 80"/>
                <a:gd name="T66" fmla="*/ 90 w 102"/>
                <a:gd name="T67" fmla="*/ 59 h 80"/>
                <a:gd name="T68" fmla="*/ 96 w 102"/>
                <a:gd name="T69" fmla="*/ 53 h 80"/>
                <a:gd name="T70" fmla="*/ 99 w 102"/>
                <a:gd name="T71" fmla="*/ 48 h 80"/>
                <a:gd name="T72" fmla="*/ 102 w 102"/>
                <a:gd name="T73" fmla="*/ 42 h 80"/>
                <a:gd name="T74" fmla="*/ 102 w 102"/>
                <a:gd name="T75" fmla="*/ 36 h 80"/>
                <a:gd name="T76" fmla="*/ 102 w 102"/>
                <a:gd name="T77" fmla="*/ 3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2" h="80">
                  <a:moveTo>
                    <a:pt x="102" y="36"/>
                  </a:moveTo>
                  <a:lnTo>
                    <a:pt x="102" y="36"/>
                  </a:lnTo>
                  <a:lnTo>
                    <a:pt x="101" y="28"/>
                  </a:lnTo>
                  <a:lnTo>
                    <a:pt x="99" y="22"/>
                  </a:lnTo>
                  <a:lnTo>
                    <a:pt x="94" y="15"/>
                  </a:lnTo>
                  <a:lnTo>
                    <a:pt x="87" y="10"/>
                  </a:lnTo>
                  <a:lnTo>
                    <a:pt x="80" y="6"/>
                  </a:lnTo>
                  <a:lnTo>
                    <a:pt x="71" y="3"/>
                  </a:lnTo>
                  <a:lnTo>
                    <a:pt x="62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1" y="1"/>
                  </a:lnTo>
                  <a:lnTo>
                    <a:pt x="31" y="3"/>
                  </a:lnTo>
                  <a:lnTo>
                    <a:pt x="23" y="6"/>
                  </a:lnTo>
                  <a:lnTo>
                    <a:pt x="14" y="10"/>
                  </a:lnTo>
                  <a:lnTo>
                    <a:pt x="8" y="15"/>
                  </a:lnTo>
                  <a:lnTo>
                    <a:pt x="4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4" y="49"/>
                  </a:lnTo>
                  <a:lnTo>
                    <a:pt x="8" y="56"/>
                  </a:lnTo>
                  <a:lnTo>
                    <a:pt x="14" y="61"/>
                  </a:lnTo>
                  <a:lnTo>
                    <a:pt x="23" y="65"/>
                  </a:lnTo>
                  <a:lnTo>
                    <a:pt x="31" y="69"/>
                  </a:lnTo>
                  <a:lnTo>
                    <a:pt x="41" y="70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62" y="70"/>
                  </a:lnTo>
                  <a:lnTo>
                    <a:pt x="71" y="68"/>
                  </a:lnTo>
                  <a:lnTo>
                    <a:pt x="90" y="80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6" y="53"/>
                  </a:lnTo>
                  <a:lnTo>
                    <a:pt x="99" y="48"/>
                  </a:lnTo>
                  <a:lnTo>
                    <a:pt x="102" y="42"/>
                  </a:lnTo>
                  <a:lnTo>
                    <a:pt x="102" y="36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F50CD290-B2F7-4ADE-A163-B325D78B0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196"/>
              <a:ext cx="35" cy="203"/>
            </a:xfrm>
            <a:custGeom>
              <a:avLst/>
              <a:gdLst>
                <a:gd name="T0" fmla="*/ 35 w 35"/>
                <a:gd name="T1" fmla="*/ 203 h 203"/>
                <a:gd name="T2" fmla="*/ 22 w 35"/>
                <a:gd name="T3" fmla="*/ 0 h 203"/>
                <a:gd name="T4" fmla="*/ 0 w 35"/>
                <a:gd name="T5" fmla="*/ 0 h 203"/>
                <a:gd name="T6" fmla="*/ 8 w 35"/>
                <a:gd name="T7" fmla="*/ 203 h 203"/>
                <a:gd name="T8" fmla="*/ 35 w 35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3">
                  <a:moveTo>
                    <a:pt x="35" y="203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8" y="203"/>
                  </a:lnTo>
                  <a:lnTo>
                    <a:pt x="35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6C1993C-FF3C-47C0-A096-D243CB955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9" y="2196"/>
              <a:ext cx="127" cy="203"/>
            </a:xfrm>
            <a:custGeom>
              <a:avLst/>
              <a:gdLst>
                <a:gd name="T0" fmla="*/ 114 w 127"/>
                <a:gd name="T1" fmla="*/ 203 h 203"/>
                <a:gd name="T2" fmla="*/ 127 w 127"/>
                <a:gd name="T3" fmla="*/ 0 h 203"/>
                <a:gd name="T4" fmla="*/ 95 w 127"/>
                <a:gd name="T5" fmla="*/ 0 h 203"/>
                <a:gd name="T6" fmla="*/ 63 w 127"/>
                <a:gd name="T7" fmla="*/ 47 h 203"/>
                <a:gd name="T8" fmla="*/ 32 w 127"/>
                <a:gd name="T9" fmla="*/ 0 h 203"/>
                <a:gd name="T10" fmla="*/ 0 w 127"/>
                <a:gd name="T11" fmla="*/ 0 h 203"/>
                <a:gd name="T12" fmla="*/ 12 w 127"/>
                <a:gd name="T13" fmla="*/ 203 h 203"/>
                <a:gd name="T14" fmla="*/ 114 w 127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03">
                  <a:moveTo>
                    <a:pt x="114" y="203"/>
                  </a:moveTo>
                  <a:lnTo>
                    <a:pt x="127" y="0"/>
                  </a:lnTo>
                  <a:lnTo>
                    <a:pt x="95" y="0"/>
                  </a:lnTo>
                  <a:lnTo>
                    <a:pt x="63" y="47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2" y="203"/>
                  </a:lnTo>
                  <a:lnTo>
                    <a:pt x="114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0BF6B3D7-8007-4D0D-B313-2C0A2CF00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2196"/>
              <a:ext cx="34" cy="203"/>
            </a:xfrm>
            <a:custGeom>
              <a:avLst/>
              <a:gdLst>
                <a:gd name="T0" fmla="*/ 26 w 34"/>
                <a:gd name="T1" fmla="*/ 203 h 203"/>
                <a:gd name="T2" fmla="*/ 34 w 34"/>
                <a:gd name="T3" fmla="*/ 0 h 203"/>
                <a:gd name="T4" fmla="*/ 12 w 34"/>
                <a:gd name="T5" fmla="*/ 0 h 203"/>
                <a:gd name="T6" fmla="*/ 0 w 34"/>
                <a:gd name="T7" fmla="*/ 203 h 203"/>
                <a:gd name="T8" fmla="*/ 26 w 34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3">
                  <a:moveTo>
                    <a:pt x="26" y="203"/>
                  </a:moveTo>
                  <a:lnTo>
                    <a:pt x="34" y="0"/>
                  </a:lnTo>
                  <a:lnTo>
                    <a:pt x="12" y="0"/>
                  </a:lnTo>
                  <a:lnTo>
                    <a:pt x="0" y="203"/>
                  </a:lnTo>
                  <a:lnTo>
                    <a:pt x="26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D21ADA49-BE0C-4C9B-8527-3C7AC2BB5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" y="2196"/>
              <a:ext cx="35" cy="203"/>
            </a:xfrm>
            <a:custGeom>
              <a:avLst/>
              <a:gdLst>
                <a:gd name="T0" fmla="*/ 35 w 35"/>
                <a:gd name="T1" fmla="*/ 203 h 203"/>
                <a:gd name="T2" fmla="*/ 22 w 35"/>
                <a:gd name="T3" fmla="*/ 0 h 203"/>
                <a:gd name="T4" fmla="*/ 0 w 35"/>
                <a:gd name="T5" fmla="*/ 0 h 203"/>
                <a:gd name="T6" fmla="*/ 8 w 35"/>
                <a:gd name="T7" fmla="*/ 203 h 203"/>
                <a:gd name="T8" fmla="*/ 35 w 35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3">
                  <a:moveTo>
                    <a:pt x="35" y="203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8" y="203"/>
                  </a:lnTo>
                  <a:lnTo>
                    <a:pt x="35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D8F65610-68CC-47F0-A5D1-2204A6E0A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6" y="2196"/>
              <a:ext cx="127" cy="203"/>
            </a:xfrm>
            <a:custGeom>
              <a:avLst/>
              <a:gdLst>
                <a:gd name="T0" fmla="*/ 114 w 127"/>
                <a:gd name="T1" fmla="*/ 203 h 203"/>
                <a:gd name="T2" fmla="*/ 127 w 127"/>
                <a:gd name="T3" fmla="*/ 0 h 203"/>
                <a:gd name="T4" fmla="*/ 95 w 127"/>
                <a:gd name="T5" fmla="*/ 0 h 203"/>
                <a:gd name="T6" fmla="*/ 64 w 127"/>
                <a:gd name="T7" fmla="*/ 47 h 203"/>
                <a:gd name="T8" fmla="*/ 32 w 127"/>
                <a:gd name="T9" fmla="*/ 0 h 203"/>
                <a:gd name="T10" fmla="*/ 0 w 127"/>
                <a:gd name="T11" fmla="*/ 0 h 203"/>
                <a:gd name="T12" fmla="*/ 12 w 127"/>
                <a:gd name="T13" fmla="*/ 203 h 203"/>
                <a:gd name="T14" fmla="*/ 114 w 127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03">
                  <a:moveTo>
                    <a:pt x="114" y="203"/>
                  </a:moveTo>
                  <a:lnTo>
                    <a:pt x="127" y="0"/>
                  </a:lnTo>
                  <a:lnTo>
                    <a:pt x="95" y="0"/>
                  </a:lnTo>
                  <a:lnTo>
                    <a:pt x="64" y="47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2" y="203"/>
                  </a:lnTo>
                  <a:lnTo>
                    <a:pt x="114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AC91501A-4ECD-4F60-B7EA-D69C414E1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2196"/>
              <a:ext cx="34" cy="203"/>
            </a:xfrm>
            <a:custGeom>
              <a:avLst/>
              <a:gdLst>
                <a:gd name="T0" fmla="*/ 26 w 34"/>
                <a:gd name="T1" fmla="*/ 203 h 203"/>
                <a:gd name="T2" fmla="*/ 34 w 34"/>
                <a:gd name="T3" fmla="*/ 0 h 203"/>
                <a:gd name="T4" fmla="*/ 12 w 34"/>
                <a:gd name="T5" fmla="*/ 0 h 203"/>
                <a:gd name="T6" fmla="*/ 0 w 34"/>
                <a:gd name="T7" fmla="*/ 203 h 203"/>
                <a:gd name="T8" fmla="*/ 26 w 34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3">
                  <a:moveTo>
                    <a:pt x="26" y="203"/>
                  </a:moveTo>
                  <a:lnTo>
                    <a:pt x="34" y="0"/>
                  </a:lnTo>
                  <a:lnTo>
                    <a:pt x="12" y="0"/>
                  </a:lnTo>
                  <a:lnTo>
                    <a:pt x="0" y="203"/>
                  </a:lnTo>
                  <a:lnTo>
                    <a:pt x="26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0" name="Group 4">
            <a:extLst>
              <a:ext uri="{FF2B5EF4-FFF2-40B4-BE49-F238E27FC236}">
                <a16:creationId xmlns:a16="http://schemas.microsoft.com/office/drawing/2014/main" id="{092BD9B3-4AE4-406D-9662-EA5110DF95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43920" y="584200"/>
            <a:ext cx="1195727" cy="1482202"/>
            <a:chOff x="3601" y="1863"/>
            <a:chExt cx="480" cy="595"/>
          </a:xfrm>
          <a:solidFill>
            <a:schemeClr val="bg1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AC05A978-44F7-4809-A327-7365B7572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9" y="1863"/>
              <a:ext cx="118" cy="118"/>
            </a:xfrm>
            <a:custGeom>
              <a:avLst/>
              <a:gdLst>
                <a:gd name="T0" fmla="*/ 47 w 118"/>
                <a:gd name="T1" fmla="*/ 117 h 118"/>
                <a:gd name="T2" fmla="*/ 47 w 118"/>
                <a:gd name="T3" fmla="*/ 117 h 118"/>
                <a:gd name="T4" fmla="*/ 59 w 118"/>
                <a:gd name="T5" fmla="*/ 118 h 118"/>
                <a:gd name="T6" fmla="*/ 71 w 118"/>
                <a:gd name="T7" fmla="*/ 117 h 118"/>
                <a:gd name="T8" fmla="*/ 81 w 118"/>
                <a:gd name="T9" fmla="*/ 114 h 118"/>
                <a:gd name="T10" fmla="*/ 92 w 118"/>
                <a:gd name="T11" fmla="*/ 109 h 118"/>
                <a:gd name="T12" fmla="*/ 101 w 118"/>
                <a:gd name="T13" fmla="*/ 102 h 118"/>
                <a:gd name="T14" fmla="*/ 107 w 118"/>
                <a:gd name="T15" fmla="*/ 93 h 118"/>
                <a:gd name="T16" fmla="*/ 114 w 118"/>
                <a:gd name="T17" fmla="*/ 83 h 118"/>
                <a:gd name="T18" fmla="*/ 117 w 118"/>
                <a:gd name="T19" fmla="*/ 71 h 118"/>
                <a:gd name="T20" fmla="*/ 117 w 118"/>
                <a:gd name="T21" fmla="*/ 71 h 118"/>
                <a:gd name="T22" fmla="*/ 118 w 118"/>
                <a:gd name="T23" fmla="*/ 59 h 118"/>
                <a:gd name="T24" fmla="*/ 117 w 118"/>
                <a:gd name="T25" fmla="*/ 48 h 118"/>
                <a:gd name="T26" fmla="*/ 114 w 118"/>
                <a:gd name="T27" fmla="*/ 37 h 118"/>
                <a:gd name="T28" fmla="*/ 109 w 118"/>
                <a:gd name="T29" fmla="*/ 28 h 118"/>
                <a:gd name="T30" fmla="*/ 101 w 118"/>
                <a:gd name="T31" fmla="*/ 18 h 118"/>
                <a:gd name="T32" fmla="*/ 93 w 118"/>
                <a:gd name="T33" fmla="*/ 10 h 118"/>
                <a:gd name="T34" fmla="*/ 83 w 118"/>
                <a:gd name="T35" fmla="*/ 5 h 118"/>
                <a:gd name="T36" fmla="*/ 71 w 118"/>
                <a:gd name="T37" fmla="*/ 1 h 118"/>
                <a:gd name="T38" fmla="*/ 71 w 118"/>
                <a:gd name="T39" fmla="*/ 1 h 118"/>
                <a:gd name="T40" fmla="*/ 59 w 118"/>
                <a:gd name="T41" fmla="*/ 0 h 118"/>
                <a:gd name="T42" fmla="*/ 49 w 118"/>
                <a:gd name="T43" fmla="*/ 1 h 118"/>
                <a:gd name="T44" fmla="*/ 37 w 118"/>
                <a:gd name="T45" fmla="*/ 5 h 118"/>
                <a:gd name="T46" fmla="*/ 28 w 118"/>
                <a:gd name="T47" fmla="*/ 10 h 118"/>
                <a:gd name="T48" fmla="*/ 19 w 118"/>
                <a:gd name="T49" fmla="*/ 17 h 118"/>
                <a:gd name="T50" fmla="*/ 11 w 118"/>
                <a:gd name="T51" fmla="*/ 26 h 118"/>
                <a:gd name="T52" fmla="*/ 5 w 118"/>
                <a:gd name="T53" fmla="*/ 37 h 118"/>
                <a:gd name="T54" fmla="*/ 2 w 118"/>
                <a:gd name="T55" fmla="*/ 47 h 118"/>
                <a:gd name="T56" fmla="*/ 2 w 118"/>
                <a:gd name="T57" fmla="*/ 47 h 118"/>
                <a:gd name="T58" fmla="*/ 0 w 118"/>
                <a:gd name="T59" fmla="*/ 59 h 118"/>
                <a:gd name="T60" fmla="*/ 2 w 118"/>
                <a:gd name="T61" fmla="*/ 71 h 118"/>
                <a:gd name="T62" fmla="*/ 5 w 118"/>
                <a:gd name="T63" fmla="*/ 81 h 118"/>
                <a:gd name="T64" fmla="*/ 11 w 118"/>
                <a:gd name="T65" fmla="*/ 92 h 118"/>
                <a:gd name="T66" fmla="*/ 17 w 118"/>
                <a:gd name="T67" fmla="*/ 101 h 118"/>
                <a:gd name="T68" fmla="*/ 26 w 118"/>
                <a:gd name="T69" fmla="*/ 107 h 118"/>
                <a:gd name="T70" fmla="*/ 37 w 118"/>
                <a:gd name="T71" fmla="*/ 114 h 118"/>
                <a:gd name="T72" fmla="*/ 47 w 118"/>
                <a:gd name="T73" fmla="*/ 117 h 118"/>
                <a:gd name="T74" fmla="*/ 47 w 118"/>
                <a:gd name="T75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8" h="118">
                  <a:moveTo>
                    <a:pt x="47" y="117"/>
                  </a:moveTo>
                  <a:lnTo>
                    <a:pt x="47" y="117"/>
                  </a:lnTo>
                  <a:lnTo>
                    <a:pt x="59" y="118"/>
                  </a:lnTo>
                  <a:lnTo>
                    <a:pt x="71" y="117"/>
                  </a:lnTo>
                  <a:lnTo>
                    <a:pt x="81" y="114"/>
                  </a:lnTo>
                  <a:lnTo>
                    <a:pt x="92" y="109"/>
                  </a:lnTo>
                  <a:lnTo>
                    <a:pt x="101" y="102"/>
                  </a:lnTo>
                  <a:lnTo>
                    <a:pt x="107" y="93"/>
                  </a:lnTo>
                  <a:lnTo>
                    <a:pt x="114" y="83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8" y="59"/>
                  </a:lnTo>
                  <a:lnTo>
                    <a:pt x="117" y="48"/>
                  </a:lnTo>
                  <a:lnTo>
                    <a:pt x="114" y="37"/>
                  </a:lnTo>
                  <a:lnTo>
                    <a:pt x="109" y="28"/>
                  </a:lnTo>
                  <a:lnTo>
                    <a:pt x="101" y="18"/>
                  </a:lnTo>
                  <a:lnTo>
                    <a:pt x="93" y="10"/>
                  </a:lnTo>
                  <a:lnTo>
                    <a:pt x="83" y="5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59" y="0"/>
                  </a:lnTo>
                  <a:lnTo>
                    <a:pt x="49" y="1"/>
                  </a:lnTo>
                  <a:lnTo>
                    <a:pt x="37" y="5"/>
                  </a:lnTo>
                  <a:lnTo>
                    <a:pt x="28" y="10"/>
                  </a:lnTo>
                  <a:lnTo>
                    <a:pt x="19" y="17"/>
                  </a:lnTo>
                  <a:lnTo>
                    <a:pt x="11" y="26"/>
                  </a:lnTo>
                  <a:lnTo>
                    <a:pt x="5" y="3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59"/>
                  </a:lnTo>
                  <a:lnTo>
                    <a:pt x="2" y="71"/>
                  </a:lnTo>
                  <a:lnTo>
                    <a:pt x="5" y="81"/>
                  </a:lnTo>
                  <a:lnTo>
                    <a:pt x="11" y="92"/>
                  </a:lnTo>
                  <a:lnTo>
                    <a:pt x="17" y="101"/>
                  </a:lnTo>
                  <a:lnTo>
                    <a:pt x="26" y="107"/>
                  </a:lnTo>
                  <a:lnTo>
                    <a:pt x="37" y="114"/>
                  </a:lnTo>
                  <a:lnTo>
                    <a:pt x="47" y="117"/>
                  </a:lnTo>
                  <a:lnTo>
                    <a:pt x="47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99B15CD6-62C1-4357-8512-026E9AC64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969"/>
              <a:ext cx="480" cy="489"/>
            </a:xfrm>
            <a:custGeom>
              <a:avLst/>
              <a:gdLst>
                <a:gd name="T0" fmla="*/ 476 w 480"/>
                <a:gd name="T1" fmla="*/ 79 h 489"/>
                <a:gd name="T2" fmla="*/ 470 w 480"/>
                <a:gd name="T3" fmla="*/ 74 h 489"/>
                <a:gd name="T4" fmla="*/ 454 w 480"/>
                <a:gd name="T5" fmla="*/ 72 h 489"/>
                <a:gd name="T6" fmla="*/ 446 w 480"/>
                <a:gd name="T7" fmla="*/ 76 h 489"/>
                <a:gd name="T8" fmla="*/ 443 w 480"/>
                <a:gd name="T9" fmla="*/ 79 h 489"/>
                <a:gd name="T10" fmla="*/ 379 w 480"/>
                <a:gd name="T11" fmla="*/ 62 h 489"/>
                <a:gd name="T12" fmla="*/ 379 w 480"/>
                <a:gd name="T13" fmla="*/ 62 h 489"/>
                <a:gd name="T14" fmla="*/ 263 w 480"/>
                <a:gd name="T15" fmla="*/ 0 h 489"/>
                <a:gd name="T16" fmla="*/ 135 w 480"/>
                <a:gd name="T17" fmla="*/ 17 h 489"/>
                <a:gd name="T18" fmla="*/ 135 w 480"/>
                <a:gd name="T19" fmla="*/ 17 h 489"/>
                <a:gd name="T20" fmla="*/ 86 w 480"/>
                <a:gd name="T21" fmla="*/ 100 h 489"/>
                <a:gd name="T22" fmla="*/ 84 w 480"/>
                <a:gd name="T23" fmla="*/ 113 h 489"/>
                <a:gd name="T24" fmla="*/ 90 w 480"/>
                <a:gd name="T25" fmla="*/ 126 h 489"/>
                <a:gd name="T26" fmla="*/ 94 w 480"/>
                <a:gd name="T27" fmla="*/ 129 h 489"/>
                <a:gd name="T28" fmla="*/ 106 w 480"/>
                <a:gd name="T29" fmla="*/ 131 h 489"/>
                <a:gd name="T30" fmla="*/ 118 w 480"/>
                <a:gd name="T31" fmla="*/ 127 h 489"/>
                <a:gd name="T32" fmla="*/ 120 w 480"/>
                <a:gd name="T33" fmla="*/ 123 h 489"/>
                <a:gd name="T34" fmla="*/ 161 w 480"/>
                <a:gd name="T35" fmla="*/ 55 h 489"/>
                <a:gd name="T36" fmla="*/ 165 w 480"/>
                <a:gd name="T37" fmla="*/ 189 h 489"/>
                <a:gd name="T38" fmla="*/ 131 w 480"/>
                <a:gd name="T39" fmla="*/ 300 h 489"/>
                <a:gd name="T40" fmla="*/ 31 w 480"/>
                <a:gd name="T41" fmla="*/ 300 h 489"/>
                <a:gd name="T42" fmla="*/ 21 w 480"/>
                <a:gd name="T43" fmla="*/ 302 h 489"/>
                <a:gd name="T44" fmla="*/ 12 w 480"/>
                <a:gd name="T45" fmla="*/ 307 h 489"/>
                <a:gd name="T46" fmla="*/ 5 w 480"/>
                <a:gd name="T47" fmla="*/ 315 h 489"/>
                <a:gd name="T48" fmla="*/ 1 w 480"/>
                <a:gd name="T49" fmla="*/ 325 h 489"/>
                <a:gd name="T50" fmla="*/ 0 w 480"/>
                <a:gd name="T51" fmla="*/ 332 h 489"/>
                <a:gd name="T52" fmla="*/ 3 w 480"/>
                <a:gd name="T53" fmla="*/ 344 h 489"/>
                <a:gd name="T54" fmla="*/ 9 w 480"/>
                <a:gd name="T55" fmla="*/ 354 h 489"/>
                <a:gd name="T56" fmla="*/ 20 w 480"/>
                <a:gd name="T57" fmla="*/ 361 h 489"/>
                <a:gd name="T58" fmla="*/ 26 w 480"/>
                <a:gd name="T59" fmla="*/ 362 h 489"/>
                <a:gd name="T60" fmla="*/ 177 w 480"/>
                <a:gd name="T61" fmla="*/ 363 h 489"/>
                <a:gd name="T62" fmla="*/ 177 w 480"/>
                <a:gd name="T63" fmla="*/ 363 h 489"/>
                <a:gd name="T64" fmla="*/ 294 w 480"/>
                <a:gd name="T65" fmla="*/ 316 h 489"/>
                <a:gd name="T66" fmla="*/ 294 w 480"/>
                <a:gd name="T67" fmla="*/ 458 h 489"/>
                <a:gd name="T68" fmla="*/ 296 w 480"/>
                <a:gd name="T69" fmla="*/ 468 h 489"/>
                <a:gd name="T70" fmla="*/ 301 w 480"/>
                <a:gd name="T71" fmla="*/ 477 h 489"/>
                <a:gd name="T72" fmla="*/ 309 w 480"/>
                <a:gd name="T73" fmla="*/ 484 h 489"/>
                <a:gd name="T74" fmla="*/ 319 w 480"/>
                <a:gd name="T75" fmla="*/ 489 h 489"/>
                <a:gd name="T76" fmla="*/ 326 w 480"/>
                <a:gd name="T77" fmla="*/ 489 h 489"/>
                <a:gd name="T78" fmla="*/ 337 w 480"/>
                <a:gd name="T79" fmla="*/ 486 h 489"/>
                <a:gd name="T80" fmla="*/ 348 w 480"/>
                <a:gd name="T81" fmla="*/ 480 h 489"/>
                <a:gd name="T82" fmla="*/ 354 w 480"/>
                <a:gd name="T83" fmla="*/ 471 h 489"/>
                <a:gd name="T84" fmla="*/ 357 w 480"/>
                <a:gd name="T85" fmla="*/ 464 h 489"/>
                <a:gd name="T86" fmla="*/ 357 w 480"/>
                <a:gd name="T87" fmla="*/ 458 h 489"/>
                <a:gd name="T88" fmla="*/ 357 w 480"/>
                <a:gd name="T89" fmla="*/ 287 h 489"/>
                <a:gd name="T90" fmla="*/ 292 w 480"/>
                <a:gd name="T91" fmla="*/ 231 h 489"/>
                <a:gd name="T92" fmla="*/ 374 w 480"/>
                <a:gd name="T93" fmla="*/ 190 h 489"/>
                <a:gd name="T94" fmla="*/ 475 w 480"/>
                <a:gd name="T95" fmla="*/ 105 h 489"/>
                <a:gd name="T96" fmla="*/ 479 w 480"/>
                <a:gd name="T97" fmla="*/ 100 h 489"/>
                <a:gd name="T98" fmla="*/ 479 w 480"/>
                <a:gd name="T99" fmla="*/ 85 h 489"/>
                <a:gd name="T100" fmla="*/ 476 w 480"/>
                <a:gd name="T101" fmla="*/ 7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0" h="489">
                  <a:moveTo>
                    <a:pt x="476" y="79"/>
                  </a:moveTo>
                  <a:lnTo>
                    <a:pt x="476" y="79"/>
                  </a:lnTo>
                  <a:lnTo>
                    <a:pt x="472" y="76"/>
                  </a:lnTo>
                  <a:lnTo>
                    <a:pt x="470" y="74"/>
                  </a:lnTo>
                  <a:lnTo>
                    <a:pt x="462" y="71"/>
                  </a:lnTo>
                  <a:lnTo>
                    <a:pt x="454" y="72"/>
                  </a:lnTo>
                  <a:lnTo>
                    <a:pt x="450" y="74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3" y="79"/>
                  </a:lnTo>
                  <a:lnTo>
                    <a:pt x="400" y="131"/>
                  </a:lnTo>
                  <a:lnTo>
                    <a:pt x="379" y="62"/>
                  </a:lnTo>
                  <a:lnTo>
                    <a:pt x="379" y="62"/>
                  </a:lnTo>
                  <a:lnTo>
                    <a:pt x="379" y="62"/>
                  </a:lnTo>
                  <a:lnTo>
                    <a:pt x="263" y="0"/>
                  </a:lnTo>
                  <a:lnTo>
                    <a:pt x="263" y="0"/>
                  </a:lnTo>
                  <a:lnTo>
                    <a:pt x="263" y="0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4" y="106"/>
                  </a:lnTo>
                  <a:lnTo>
                    <a:pt x="84" y="113"/>
                  </a:lnTo>
                  <a:lnTo>
                    <a:pt x="86" y="119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94" y="129"/>
                  </a:lnTo>
                  <a:lnTo>
                    <a:pt x="98" y="130"/>
                  </a:lnTo>
                  <a:lnTo>
                    <a:pt x="106" y="131"/>
                  </a:lnTo>
                  <a:lnTo>
                    <a:pt x="114" y="129"/>
                  </a:lnTo>
                  <a:lnTo>
                    <a:pt x="118" y="127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23" y="121"/>
                  </a:lnTo>
                  <a:lnTo>
                    <a:pt x="161" y="55"/>
                  </a:lnTo>
                  <a:lnTo>
                    <a:pt x="239" y="46"/>
                  </a:lnTo>
                  <a:lnTo>
                    <a:pt x="165" y="189"/>
                  </a:lnTo>
                  <a:lnTo>
                    <a:pt x="165" y="189"/>
                  </a:lnTo>
                  <a:lnTo>
                    <a:pt x="131" y="300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26" y="300"/>
                  </a:lnTo>
                  <a:lnTo>
                    <a:pt x="21" y="302"/>
                  </a:lnTo>
                  <a:lnTo>
                    <a:pt x="17" y="304"/>
                  </a:lnTo>
                  <a:lnTo>
                    <a:pt x="12" y="307"/>
                  </a:lnTo>
                  <a:lnTo>
                    <a:pt x="8" y="311"/>
                  </a:lnTo>
                  <a:lnTo>
                    <a:pt x="5" y="315"/>
                  </a:lnTo>
                  <a:lnTo>
                    <a:pt x="3" y="320"/>
                  </a:lnTo>
                  <a:lnTo>
                    <a:pt x="1" y="325"/>
                  </a:lnTo>
                  <a:lnTo>
                    <a:pt x="1" y="325"/>
                  </a:lnTo>
                  <a:lnTo>
                    <a:pt x="0" y="332"/>
                  </a:lnTo>
                  <a:lnTo>
                    <a:pt x="1" y="337"/>
                  </a:lnTo>
                  <a:lnTo>
                    <a:pt x="3" y="344"/>
                  </a:lnTo>
                  <a:lnTo>
                    <a:pt x="5" y="349"/>
                  </a:lnTo>
                  <a:lnTo>
                    <a:pt x="9" y="354"/>
                  </a:lnTo>
                  <a:lnTo>
                    <a:pt x="14" y="358"/>
                  </a:lnTo>
                  <a:lnTo>
                    <a:pt x="20" y="361"/>
                  </a:lnTo>
                  <a:lnTo>
                    <a:pt x="26" y="362"/>
                  </a:lnTo>
                  <a:lnTo>
                    <a:pt x="26" y="362"/>
                  </a:lnTo>
                  <a:lnTo>
                    <a:pt x="31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213" y="245"/>
                  </a:lnTo>
                  <a:lnTo>
                    <a:pt x="294" y="316"/>
                  </a:lnTo>
                  <a:lnTo>
                    <a:pt x="294" y="458"/>
                  </a:lnTo>
                  <a:lnTo>
                    <a:pt x="294" y="458"/>
                  </a:lnTo>
                  <a:lnTo>
                    <a:pt x="294" y="463"/>
                  </a:lnTo>
                  <a:lnTo>
                    <a:pt x="296" y="468"/>
                  </a:lnTo>
                  <a:lnTo>
                    <a:pt x="298" y="473"/>
                  </a:lnTo>
                  <a:lnTo>
                    <a:pt x="301" y="477"/>
                  </a:lnTo>
                  <a:lnTo>
                    <a:pt x="305" y="481"/>
                  </a:lnTo>
                  <a:lnTo>
                    <a:pt x="309" y="484"/>
                  </a:lnTo>
                  <a:lnTo>
                    <a:pt x="314" y="486"/>
                  </a:lnTo>
                  <a:lnTo>
                    <a:pt x="319" y="489"/>
                  </a:lnTo>
                  <a:lnTo>
                    <a:pt x="319" y="489"/>
                  </a:lnTo>
                  <a:lnTo>
                    <a:pt x="326" y="489"/>
                  </a:lnTo>
                  <a:lnTo>
                    <a:pt x="332" y="489"/>
                  </a:lnTo>
                  <a:lnTo>
                    <a:pt x="337" y="486"/>
                  </a:lnTo>
                  <a:lnTo>
                    <a:pt x="343" y="484"/>
                  </a:lnTo>
                  <a:lnTo>
                    <a:pt x="348" y="480"/>
                  </a:lnTo>
                  <a:lnTo>
                    <a:pt x="352" y="476"/>
                  </a:lnTo>
                  <a:lnTo>
                    <a:pt x="354" y="471"/>
                  </a:lnTo>
                  <a:lnTo>
                    <a:pt x="357" y="464"/>
                  </a:lnTo>
                  <a:lnTo>
                    <a:pt x="357" y="464"/>
                  </a:lnTo>
                  <a:lnTo>
                    <a:pt x="357" y="458"/>
                  </a:lnTo>
                  <a:lnTo>
                    <a:pt x="357" y="458"/>
                  </a:lnTo>
                  <a:lnTo>
                    <a:pt x="357" y="287"/>
                  </a:lnTo>
                  <a:lnTo>
                    <a:pt x="357" y="287"/>
                  </a:lnTo>
                  <a:lnTo>
                    <a:pt x="357" y="287"/>
                  </a:lnTo>
                  <a:lnTo>
                    <a:pt x="292" y="231"/>
                  </a:lnTo>
                  <a:lnTo>
                    <a:pt x="352" y="115"/>
                  </a:lnTo>
                  <a:lnTo>
                    <a:pt x="374" y="190"/>
                  </a:lnTo>
                  <a:lnTo>
                    <a:pt x="400" y="197"/>
                  </a:lnTo>
                  <a:lnTo>
                    <a:pt x="475" y="105"/>
                  </a:lnTo>
                  <a:lnTo>
                    <a:pt x="475" y="105"/>
                  </a:lnTo>
                  <a:lnTo>
                    <a:pt x="479" y="100"/>
                  </a:lnTo>
                  <a:lnTo>
                    <a:pt x="480" y="92"/>
                  </a:lnTo>
                  <a:lnTo>
                    <a:pt x="479" y="85"/>
                  </a:lnTo>
                  <a:lnTo>
                    <a:pt x="476" y="79"/>
                  </a:lnTo>
                  <a:lnTo>
                    <a:pt x="476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3" name="TextBox 42"/>
          <p:cNvSpPr txBox="1"/>
          <p:nvPr/>
        </p:nvSpPr>
        <p:spPr bwMode="gray">
          <a:xfrm>
            <a:off x="514766" y="2292905"/>
            <a:ext cx="2654034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chemeClr val="bg1"/>
                </a:solidFill>
              </a:rPr>
              <a:t>Servicio</a:t>
            </a:r>
            <a:r>
              <a:rPr lang="en-GB" sz="1600" b="1" dirty="0" smtClean="0">
                <a:solidFill>
                  <a:schemeClr val="bg1"/>
                </a:solidFill>
              </a:rPr>
              <a:t> </a:t>
            </a:r>
            <a:r>
              <a:rPr lang="en-GB" sz="1600" b="1" dirty="0" err="1" smtClean="0">
                <a:solidFill>
                  <a:schemeClr val="bg1"/>
                </a:solidFill>
              </a:rPr>
              <a:t>Rápido</a:t>
            </a:r>
            <a:r>
              <a:rPr lang="en-GB" sz="1600" b="1" dirty="0" smtClean="0">
                <a:solidFill>
                  <a:schemeClr val="bg1"/>
                </a:solidFill>
              </a:rPr>
              <a:t> y </a:t>
            </a:r>
            <a:r>
              <a:rPr lang="en-GB" sz="1600" b="1" dirty="0" err="1" smtClean="0">
                <a:solidFill>
                  <a:schemeClr val="bg1"/>
                </a:solidFill>
              </a:rPr>
              <a:t>Efectivo</a:t>
            </a:r>
            <a:endParaRPr lang="en-GB" sz="1600" b="1" dirty="0" smtClean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 bwMode="gray">
          <a:xfrm>
            <a:off x="2592222" y="4463585"/>
            <a:ext cx="2654034" cy="237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 smtClean="0">
                <a:solidFill>
                  <a:schemeClr val="bg1"/>
                </a:solidFill>
              </a:rPr>
              <a:t>Atención</a:t>
            </a:r>
            <a:r>
              <a:rPr lang="en-GB" sz="1600" b="1" dirty="0" smtClean="0">
                <a:solidFill>
                  <a:schemeClr val="bg1"/>
                </a:solidFill>
              </a:rPr>
              <a:t> </a:t>
            </a:r>
            <a:r>
              <a:rPr lang="en-GB" sz="1600" b="1" dirty="0" err="1" smtClean="0">
                <a:solidFill>
                  <a:schemeClr val="bg1"/>
                </a:solidFill>
              </a:rPr>
              <a:t>Personalizada</a:t>
            </a:r>
            <a:r>
              <a:rPr lang="en-GB" sz="1600" b="1" dirty="0" smtClean="0">
                <a:solidFill>
                  <a:schemeClr val="bg1"/>
                </a:solidFill>
              </a:rPr>
              <a:t> y </a:t>
            </a:r>
            <a:r>
              <a:rPr lang="en-GB" sz="1600" b="1" dirty="0" err="1" smtClean="0">
                <a:solidFill>
                  <a:schemeClr val="bg1"/>
                </a:solidFill>
              </a:rPr>
              <a:t>Profesional</a:t>
            </a:r>
            <a:endParaRPr lang="en-GB" sz="1600" b="1" dirty="0" smtClean="0">
              <a:solidFill>
                <a:schemeClr val="bg1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46" name="Group 45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48" name="Rectangle 47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  <a:t/>
                </a:r>
                <a:b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50" name="Straight Connector 49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1" name="Straight Connector 50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9866200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 smtClean="0"/>
              <a:t>3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5400" smtClean="0"/>
              <a:t>Retos para el </a:t>
            </a:r>
            <a:r>
              <a:rPr lang="en-GB" sz="5400" dirty="0" smtClean="0"/>
              <a:t>2023</a:t>
            </a:r>
            <a:endParaRPr lang="en-GB" sz="5400" dirty="0"/>
          </a:p>
        </p:txBody>
      </p:sp>
    </p:spTree>
    <p:extLst>
      <p:ext uri="{BB962C8B-B14F-4D97-AF65-F5344CB8AC3E}">
        <p14:creationId xmlns:p14="http://schemas.microsoft.com/office/powerpoint/2010/main" val="5822858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0BB9E5A-145D-450F-9262-151A92185A62}"/>
              </a:ext>
            </a:extLst>
          </p:cNvPr>
          <p:cNvGrpSpPr/>
          <p:nvPr/>
        </p:nvGrpSpPr>
        <p:grpSpPr>
          <a:xfrm>
            <a:off x="1129130" y="1114937"/>
            <a:ext cx="3882485" cy="1858100"/>
            <a:chOff x="3322003" y="3602764"/>
            <a:chExt cx="2663825" cy="156307"/>
          </a:xfrm>
        </p:grpSpPr>
        <p:sp>
          <p:nvSpPr>
            <p:cNvPr id="3" name="Rechteck 22">
              <a:extLst>
                <a:ext uri="{FF2B5EF4-FFF2-40B4-BE49-F238E27FC236}">
                  <a16:creationId xmlns:a16="http://schemas.microsoft.com/office/drawing/2014/main" id="{87E008F7-EC4D-44D4-8B54-0CB2B830F8E7}"/>
                </a:ext>
              </a:extLst>
            </p:cNvPr>
            <p:cNvSpPr/>
            <p:nvPr/>
          </p:nvSpPr>
          <p:spPr bwMode="gray">
            <a:xfrm>
              <a:off x="3322003" y="3602764"/>
              <a:ext cx="2663825" cy="12485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400" fontAlgn="base">
                <a:spcAft>
                  <a:spcPct val="0"/>
                </a:spcAft>
                <a:buClr>
                  <a:schemeClr val="accent2"/>
                </a:buClr>
              </a:pPr>
              <a:endParaRPr lang="en-GB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4" name="Freihandform: Form 47">
              <a:extLst>
                <a:ext uri="{FF2B5EF4-FFF2-40B4-BE49-F238E27FC236}">
                  <a16:creationId xmlns:a16="http://schemas.microsoft.com/office/drawing/2014/main" id="{01AB93DA-3743-4011-8D0F-E3C0FBEC2AE4}"/>
                </a:ext>
              </a:extLst>
            </p:cNvPr>
            <p:cNvSpPr/>
            <p:nvPr/>
          </p:nvSpPr>
          <p:spPr bwMode="gray">
            <a:xfrm>
              <a:off x="3949115" y="3727618"/>
              <a:ext cx="737026" cy="31453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5" name="TextBox 4"/>
          <p:cNvSpPr txBox="1"/>
          <p:nvPr/>
        </p:nvSpPr>
        <p:spPr bwMode="gray">
          <a:xfrm>
            <a:off x="1350010" y="1519545"/>
            <a:ext cx="3440723" cy="10199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 smtClean="0">
                <a:solidFill>
                  <a:schemeClr val="bg1"/>
                </a:solidFill>
              </a:rPr>
              <a:t>¿</a:t>
            </a:r>
            <a:r>
              <a:rPr lang="en-GB" sz="2000" b="1" dirty="0" err="1" smtClean="0">
                <a:solidFill>
                  <a:schemeClr val="bg1"/>
                </a:solidFill>
              </a:rPr>
              <a:t>Qué</a:t>
            </a:r>
            <a:r>
              <a:rPr lang="en-GB" sz="2000" b="1" dirty="0" smtClean="0">
                <a:solidFill>
                  <a:schemeClr val="bg1"/>
                </a:solidFill>
              </a:rPr>
              <a:t> </a:t>
            </a:r>
            <a:r>
              <a:rPr lang="en-GB" sz="2000" b="1" dirty="0" err="1">
                <a:solidFill>
                  <a:schemeClr val="bg1"/>
                </a:solidFill>
              </a:rPr>
              <a:t>p</a:t>
            </a:r>
            <a:r>
              <a:rPr lang="en-GB" sz="2000" b="1" dirty="0" err="1" smtClean="0">
                <a:solidFill>
                  <a:schemeClr val="bg1"/>
                </a:solidFill>
              </a:rPr>
              <a:t>odemos</a:t>
            </a:r>
            <a:r>
              <a:rPr lang="en-GB" sz="2000" b="1" dirty="0" smtClean="0">
                <a:solidFill>
                  <a:schemeClr val="bg1"/>
                </a:solidFill>
              </a:rPr>
              <a:t> </a:t>
            </a:r>
            <a:r>
              <a:rPr lang="en-GB" sz="2000" b="1" dirty="0" err="1" smtClean="0">
                <a:solidFill>
                  <a:schemeClr val="bg1"/>
                </a:solidFill>
              </a:rPr>
              <a:t>esperar</a:t>
            </a:r>
            <a:r>
              <a:rPr lang="en-GB" sz="2000" b="1" dirty="0" smtClean="0">
                <a:solidFill>
                  <a:schemeClr val="bg1"/>
                </a:solidFill>
              </a:rPr>
              <a:t> para el 2023?</a:t>
            </a:r>
            <a:endParaRPr lang="en-GB" sz="2000" b="1" dirty="0" smtClean="0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88087" y="3238209"/>
            <a:ext cx="1978560" cy="1031631"/>
            <a:chOff x="982592" y="3414055"/>
            <a:chExt cx="2282285" cy="1245868"/>
          </a:xfrm>
          <a:solidFill>
            <a:schemeClr val="accent6">
              <a:lumMod val="60000"/>
              <a:lumOff val="40000"/>
            </a:schemeClr>
          </a:solid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7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15" name="TextBox 14"/>
            <p:cNvSpPr txBox="1"/>
            <p:nvPr/>
          </p:nvSpPr>
          <p:spPr bwMode="gray">
            <a:xfrm>
              <a:off x="1002500" y="3594306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 smtClean="0">
                  <a:solidFill>
                    <a:schemeClr val="bg1"/>
                  </a:solidFill>
                </a:rPr>
                <a:t>¿A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dónde</a:t>
              </a:r>
              <a:r>
                <a:rPr lang="en-GB" sz="1800" dirty="0" smtClean="0">
                  <a:solidFill>
                    <a:schemeClr val="bg1"/>
                  </a:solidFill>
                </a:rPr>
                <a:t>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va</a:t>
              </a:r>
              <a:r>
                <a:rPr lang="en-GB" sz="1800" dirty="0" smtClean="0">
                  <a:solidFill>
                    <a:schemeClr val="bg1"/>
                  </a:solidFill>
                </a:rPr>
                <a:t> el Mercado?</a:t>
              </a:r>
              <a:endParaRPr lang="en-GB" sz="18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 flipH="1">
            <a:off x="3521710" y="3650228"/>
            <a:ext cx="1987060" cy="1031631"/>
            <a:chOff x="982592" y="3414055"/>
            <a:chExt cx="2282285" cy="1245868"/>
          </a:xfrm>
          <a:solidFill>
            <a:schemeClr val="accent1"/>
          </a:solid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20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 bwMode="gray">
            <a:xfrm>
              <a:off x="1002500" y="3594306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 smtClean="0">
                  <a:solidFill>
                    <a:schemeClr val="bg1"/>
                  </a:solidFill>
                </a:rPr>
                <a:t>¿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Alza</a:t>
              </a:r>
              <a:r>
                <a:rPr lang="en-GB" sz="1800" dirty="0" smtClean="0">
                  <a:solidFill>
                    <a:schemeClr val="bg1"/>
                  </a:solidFill>
                </a:rPr>
                <a:t>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en</a:t>
              </a:r>
              <a:r>
                <a:rPr lang="en-GB" sz="1800" dirty="0" smtClean="0">
                  <a:solidFill>
                    <a:schemeClr val="bg1"/>
                  </a:solidFill>
                </a:rPr>
                <a:t>  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precios</a:t>
              </a:r>
              <a:r>
                <a:rPr lang="en-GB" sz="1800" dirty="0" smtClean="0">
                  <a:solidFill>
                    <a:schemeClr val="bg1"/>
                  </a:solidFill>
                </a:rPr>
                <a:t>?</a:t>
              </a:r>
              <a:endParaRPr lang="en-GB" sz="18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981516" y="4770875"/>
            <a:ext cx="2015586" cy="1031631"/>
            <a:chOff x="982592" y="3414055"/>
            <a:chExt cx="2282285" cy="1245868"/>
          </a:xfrm>
          <a:solidFill>
            <a:schemeClr val="accent2">
              <a:lumMod val="40000"/>
              <a:lumOff val="60000"/>
            </a:schemeClr>
          </a:solidFill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25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 bwMode="gray">
            <a:xfrm>
              <a:off x="1002500" y="3594306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 smtClean="0">
                  <a:solidFill>
                    <a:schemeClr val="bg1"/>
                  </a:solidFill>
                </a:rPr>
                <a:t>¿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Mi</a:t>
              </a:r>
              <a:r>
                <a:rPr lang="en-GB" sz="1800" dirty="0" smtClean="0">
                  <a:solidFill>
                    <a:schemeClr val="bg1"/>
                  </a:solidFill>
                </a:rPr>
                <a:t>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oferta</a:t>
              </a:r>
              <a:r>
                <a:rPr lang="en-GB" sz="1800" dirty="0" smtClean="0">
                  <a:solidFill>
                    <a:schemeClr val="bg1"/>
                  </a:solidFill>
                </a:rPr>
                <a:t>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es</a:t>
              </a:r>
              <a:r>
                <a:rPr lang="en-GB" sz="1800" dirty="0" smtClean="0">
                  <a:solidFill>
                    <a:schemeClr val="bg1"/>
                  </a:solidFill>
                </a:rPr>
                <a:t>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adecuada</a:t>
              </a:r>
              <a:r>
                <a:rPr lang="en-GB" sz="1800" dirty="0" smtClean="0">
                  <a:solidFill>
                    <a:schemeClr val="bg1"/>
                  </a:solidFill>
                </a:rPr>
                <a:t>?</a:t>
              </a:r>
              <a:endParaRPr lang="en-GB" sz="18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 flipH="1">
            <a:off x="3738269" y="5410565"/>
            <a:ext cx="1994316" cy="1031631"/>
            <a:chOff x="982592" y="3414055"/>
            <a:chExt cx="2282285" cy="1245868"/>
          </a:xfrm>
          <a:solidFill>
            <a:schemeClr val="accent3">
              <a:lumMod val="60000"/>
              <a:lumOff val="40000"/>
            </a:schemeClr>
          </a:solidFill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0BB9E5A-145D-450F-9262-151A92185A62}"/>
                </a:ext>
              </a:extLst>
            </p:cNvPr>
            <p:cNvGrpSpPr/>
            <p:nvPr/>
          </p:nvGrpSpPr>
          <p:grpSpPr>
            <a:xfrm>
              <a:off x="982592" y="3414055"/>
              <a:ext cx="2282285" cy="1245868"/>
              <a:chOff x="3322003" y="3602764"/>
              <a:chExt cx="2663825" cy="156307"/>
            </a:xfrm>
            <a:grpFill/>
          </p:grpSpPr>
          <p:sp>
            <p:nvSpPr>
              <p:cNvPr id="30" name="Rechteck 22">
                <a:extLst>
                  <a:ext uri="{FF2B5EF4-FFF2-40B4-BE49-F238E27FC236}">
                    <a16:creationId xmlns:a16="http://schemas.microsoft.com/office/drawing/2014/main" id="{87E008F7-EC4D-44D4-8B54-0CB2B830F8E7}"/>
                  </a:ext>
                </a:extLst>
              </p:cNvPr>
              <p:cNvSpPr/>
              <p:nvPr/>
            </p:nvSpPr>
            <p:spPr bwMode="gray">
              <a:xfrm>
                <a:off x="3322003" y="3602764"/>
                <a:ext cx="2663825" cy="12485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252000" tIns="216000" rIns="252000" bIns="216000" numCol="1" rtlCol="0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fontAlgn="base">
                  <a:spcAft>
                    <a:spcPct val="0"/>
                  </a:spcAft>
                  <a:buClr>
                    <a:schemeClr val="accent2"/>
                  </a:buClr>
                </a:pPr>
                <a:endParaRPr lang="en-GB" sz="1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reihandform: Form 47">
                <a:extLst>
                  <a:ext uri="{FF2B5EF4-FFF2-40B4-BE49-F238E27FC236}">
                    <a16:creationId xmlns:a16="http://schemas.microsoft.com/office/drawing/2014/main" id="{01AB93DA-3743-4011-8D0F-E3C0FBEC2AE4}"/>
                  </a:ext>
                </a:extLst>
              </p:cNvPr>
              <p:cNvSpPr/>
              <p:nvPr/>
            </p:nvSpPr>
            <p:spPr bwMode="gray">
              <a:xfrm>
                <a:off x="3949115" y="3727618"/>
                <a:ext cx="737026" cy="31453"/>
              </a:xfrm>
              <a:custGeom>
                <a:avLst/>
                <a:gdLst>
                  <a:gd name="connsiteX0" fmla="*/ 0 w 737026"/>
                  <a:gd name="connsiteY0" fmla="*/ 0 h 327532"/>
                  <a:gd name="connsiteX1" fmla="*/ 655064 w 737026"/>
                  <a:gd name="connsiteY1" fmla="*/ 0 h 327532"/>
                  <a:gd name="connsiteX2" fmla="*/ 737026 w 737026"/>
                  <a:gd name="connsiteY2" fmla="*/ 327532 h 327532"/>
                  <a:gd name="connsiteX3" fmla="*/ 0 w 737026"/>
                  <a:gd name="connsiteY3" fmla="*/ 0 h 32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026" h="327532">
                    <a:moveTo>
                      <a:pt x="0" y="0"/>
                    </a:moveTo>
                    <a:lnTo>
                      <a:pt x="655064" y="0"/>
                    </a:lnTo>
                    <a:lnTo>
                      <a:pt x="737026" y="32753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Aft>
                    <a:spcPct val="0"/>
                  </a:spcAft>
                  <a:buClr>
                    <a:schemeClr val="accent2"/>
                  </a:buClr>
                  <a:buSzTx/>
                  <a:tabLst/>
                </a:pPr>
                <a:endParaRPr kumimoji="0" lang="en-GB" sz="1600" b="0" i="0" u="none" strike="noStrike" cap="none" normalizeH="0" baseline="0" dirty="0" err="1">
                  <a:ln>
                    <a:noFill/>
                  </a:ln>
                  <a:effectLst/>
                  <a:latin typeface="Arial" charset="0"/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 bwMode="gray">
            <a:xfrm>
              <a:off x="992036" y="3738298"/>
              <a:ext cx="2193214" cy="855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800" dirty="0" smtClean="0">
                  <a:solidFill>
                    <a:schemeClr val="bg1"/>
                  </a:solidFill>
                </a:rPr>
                <a:t>¿Y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ahora</a:t>
              </a:r>
              <a:r>
                <a:rPr lang="en-GB" sz="1800" dirty="0" smtClean="0">
                  <a:solidFill>
                    <a:schemeClr val="bg1"/>
                  </a:solidFill>
                </a:rPr>
                <a:t> </a:t>
              </a:r>
              <a:r>
                <a:rPr lang="en-GB" sz="1800" dirty="0" err="1" smtClean="0">
                  <a:solidFill>
                    <a:schemeClr val="bg1"/>
                  </a:solidFill>
                </a:rPr>
                <a:t>qué</a:t>
              </a:r>
              <a:r>
                <a:rPr lang="en-GB" sz="1800" dirty="0" smtClean="0">
                  <a:solidFill>
                    <a:schemeClr val="bg1"/>
                  </a:solidFill>
                </a:rPr>
                <a:t>…?</a:t>
              </a:r>
              <a:endParaRPr lang="en-GB" sz="18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7400191" y="1610748"/>
            <a:ext cx="3446585" cy="4831448"/>
            <a:chOff x="7400191" y="1610748"/>
            <a:chExt cx="3446585" cy="4831448"/>
          </a:xfrm>
        </p:grpSpPr>
        <p:sp>
          <p:nvSpPr>
            <p:cNvPr id="33" name="TextBox 32"/>
            <p:cNvSpPr txBox="1"/>
            <p:nvPr/>
          </p:nvSpPr>
          <p:spPr bwMode="gray">
            <a:xfrm>
              <a:off x="7590692" y="2786088"/>
              <a:ext cx="621323" cy="2501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l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endParaRPr lang="en-GB" sz="1600" dirty="0" err="1" smtClean="0"/>
            </a:p>
          </p:txBody>
        </p:sp>
        <p:sp>
          <p:nvSpPr>
            <p:cNvPr id="34" name="Oval 33"/>
            <p:cNvSpPr/>
            <p:nvPr/>
          </p:nvSpPr>
          <p:spPr bwMode="gray">
            <a:xfrm>
              <a:off x="7400191" y="1610748"/>
              <a:ext cx="3446585" cy="2350679"/>
            </a:xfrm>
            <a:prstGeom prst="ellipse">
              <a:avLst/>
            </a:prstGeom>
            <a:solidFill>
              <a:schemeClr val="bg1"/>
            </a:solidFill>
            <a:ln w="762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04745467-9349-4B9F-AB13-21FC5DDC5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7395" y="1984184"/>
              <a:ext cx="762000" cy="1603805"/>
            </a:xfrm>
            <a:custGeom>
              <a:avLst/>
              <a:gdLst>
                <a:gd name="T0" fmla="*/ 480 w 480"/>
                <a:gd name="T1" fmla="*/ 328 h 955"/>
                <a:gd name="T2" fmla="*/ 184 w 480"/>
                <a:gd name="T3" fmla="*/ 326 h 955"/>
                <a:gd name="T4" fmla="*/ 319 w 480"/>
                <a:gd name="T5" fmla="*/ 0 h 955"/>
                <a:gd name="T6" fmla="*/ 188 w 480"/>
                <a:gd name="T7" fmla="*/ 0 h 955"/>
                <a:gd name="T8" fmla="*/ 0 w 480"/>
                <a:gd name="T9" fmla="*/ 448 h 955"/>
                <a:gd name="T10" fmla="*/ 296 w 480"/>
                <a:gd name="T11" fmla="*/ 450 h 955"/>
                <a:gd name="T12" fmla="*/ 175 w 480"/>
                <a:gd name="T13" fmla="*/ 747 h 955"/>
                <a:gd name="T14" fmla="*/ 33 w 480"/>
                <a:gd name="T15" fmla="*/ 747 h 955"/>
                <a:gd name="T16" fmla="*/ 240 w 480"/>
                <a:gd name="T17" fmla="*/ 955 h 955"/>
                <a:gd name="T18" fmla="*/ 447 w 480"/>
                <a:gd name="T19" fmla="*/ 747 h 955"/>
                <a:gd name="T20" fmla="*/ 309 w 480"/>
                <a:gd name="T21" fmla="*/ 747 h 955"/>
                <a:gd name="T22" fmla="*/ 480 w 480"/>
                <a:gd name="T23" fmla="*/ 328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0" h="955">
                  <a:moveTo>
                    <a:pt x="480" y="328"/>
                  </a:moveTo>
                  <a:lnTo>
                    <a:pt x="184" y="326"/>
                  </a:lnTo>
                  <a:lnTo>
                    <a:pt x="319" y="0"/>
                  </a:lnTo>
                  <a:lnTo>
                    <a:pt x="188" y="0"/>
                  </a:lnTo>
                  <a:lnTo>
                    <a:pt x="0" y="448"/>
                  </a:lnTo>
                  <a:lnTo>
                    <a:pt x="296" y="450"/>
                  </a:lnTo>
                  <a:lnTo>
                    <a:pt x="175" y="747"/>
                  </a:lnTo>
                  <a:lnTo>
                    <a:pt x="33" y="747"/>
                  </a:lnTo>
                  <a:lnTo>
                    <a:pt x="240" y="955"/>
                  </a:lnTo>
                  <a:lnTo>
                    <a:pt x="447" y="747"/>
                  </a:lnTo>
                  <a:lnTo>
                    <a:pt x="309" y="747"/>
                  </a:lnTo>
                  <a:lnTo>
                    <a:pt x="480" y="32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TextBox 34"/>
            <p:cNvSpPr txBox="1"/>
            <p:nvPr/>
          </p:nvSpPr>
          <p:spPr bwMode="gray">
            <a:xfrm>
              <a:off x="7940803" y="2267339"/>
              <a:ext cx="2265562" cy="10374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3200" b="1" dirty="0" smtClean="0">
                  <a:solidFill>
                    <a:schemeClr val="accent1"/>
                  </a:solidFill>
                </a:rPr>
                <a:t>4</a:t>
              </a:r>
            </a:p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3200" b="1" dirty="0" err="1" smtClean="0">
                  <a:solidFill>
                    <a:schemeClr val="accent1"/>
                  </a:solidFill>
                </a:rPr>
                <a:t>Tendencias</a:t>
              </a:r>
              <a:r>
                <a:rPr lang="en-GB" sz="3200" b="1" dirty="0" smtClean="0">
                  <a:solidFill>
                    <a:schemeClr val="accent1"/>
                  </a:solidFill>
                </a:rPr>
                <a:t> </a:t>
              </a:r>
            </a:p>
          </p:txBody>
        </p:sp>
        <p:cxnSp>
          <p:nvCxnSpPr>
            <p:cNvPr id="37" name="Straight Connector 36"/>
            <p:cNvCxnSpPr>
              <a:stCxn id="34" idx="4"/>
            </p:cNvCxnSpPr>
            <p:nvPr/>
          </p:nvCxnSpPr>
          <p:spPr bwMode="gray">
            <a:xfrm flipH="1">
              <a:off x="9123483" y="3961427"/>
              <a:ext cx="1" cy="2480769"/>
            </a:xfrm>
            <a:prstGeom prst="line">
              <a:avLst/>
            </a:prstGeom>
            <a:solidFill>
              <a:schemeClr val="bg1"/>
            </a:solidFill>
            <a:ln w="762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cxnSp>
      </p:grpSp>
    </p:spTree>
    <p:extLst>
      <p:ext uri="{BB962C8B-B14F-4D97-AF65-F5344CB8AC3E}">
        <p14:creationId xmlns:p14="http://schemas.microsoft.com/office/powerpoint/2010/main" val="26652011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gray">
          <a:xfrm flipH="1">
            <a:off x="9137650" y="64477"/>
            <a:ext cx="12212" cy="6431573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064010" y="2444443"/>
            <a:ext cx="2145323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 smtClean="0">
                <a:solidFill>
                  <a:schemeClr val="accent1"/>
                </a:solidFill>
              </a:rPr>
              <a:t>1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800" dirty="0" err="1" smtClean="0"/>
              <a:t>Morbilidad</a:t>
            </a:r>
            <a:endParaRPr lang="en-GB" sz="2800" dirty="0" smtClean="0"/>
          </a:p>
        </p:txBody>
      </p:sp>
      <p:sp>
        <p:nvSpPr>
          <p:cNvPr id="7" name="Oval 6"/>
          <p:cNvSpPr/>
          <p:nvPr/>
        </p:nvSpPr>
        <p:spPr bwMode="gray">
          <a:xfrm>
            <a:off x="679450" y="584200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F4D2B4B-4A23-6CF0-8F66-DF1EC76AA4E0}"/>
              </a:ext>
            </a:extLst>
          </p:cNvPr>
          <p:cNvSpPr>
            <a:spLocks noEditPoints="1"/>
          </p:cNvSpPr>
          <p:nvPr/>
        </p:nvSpPr>
        <p:spPr bwMode="auto">
          <a:xfrm>
            <a:off x="1513681" y="2102644"/>
            <a:ext cx="693738" cy="341799"/>
          </a:xfrm>
          <a:custGeom>
            <a:avLst/>
            <a:gdLst>
              <a:gd name="T0" fmla="*/ 902 w 906"/>
              <a:gd name="T1" fmla="*/ 60 h 519"/>
              <a:gd name="T2" fmla="*/ 886 w 906"/>
              <a:gd name="T3" fmla="*/ 22 h 519"/>
              <a:gd name="T4" fmla="*/ 870 w 906"/>
              <a:gd name="T5" fmla="*/ 12 h 519"/>
              <a:gd name="T6" fmla="*/ 838 w 906"/>
              <a:gd name="T7" fmla="*/ 14 h 519"/>
              <a:gd name="T8" fmla="*/ 792 w 906"/>
              <a:gd name="T9" fmla="*/ 48 h 519"/>
              <a:gd name="T10" fmla="*/ 734 w 906"/>
              <a:gd name="T11" fmla="*/ 117 h 519"/>
              <a:gd name="T12" fmla="*/ 174 w 906"/>
              <a:gd name="T13" fmla="*/ 117 h 519"/>
              <a:gd name="T14" fmla="*/ 114 w 906"/>
              <a:gd name="T15" fmla="*/ 48 h 519"/>
              <a:gd name="T16" fmla="*/ 68 w 906"/>
              <a:gd name="T17" fmla="*/ 14 h 519"/>
              <a:gd name="T18" fmla="*/ 38 w 906"/>
              <a:gd name="T19" fmla="*/ 12 h 519"/>
              <a:gd name="T20" fmla="*/ 22 w 906"/>
              <a:gd name="T21" fmla="*/ 22 h 519"/>
              <a:gd name="T22" fmla="*/ 6 w 906"/>
              <a:gd name="T23" fmla="*/ 60 h 519"/>
              <a:gd name="T24" fmla="*/ 0 w 906"/>
              <a:gd name="T25" fmla="*/ 111 h 519"/>
              <a:gd name="T26" fmla="*/ 10 w 906"/>
              <a:gd name="T27" fmla="*/ 191 h 519"/>
              <a:gd name="T28" fmla="*/ 44 w 906"/>
              <a:gd name="T29" fmla="*/ 255 h 519"/>
              <a:gd name="T30" fmla="*/ 74 w 906"/>
              <a:gd name="T31" fmla="*/ 290 h 519"/>
              <a:gd name="T32" fmla="*/ 148 w 906"/>
              <a:gd name="T33" fmla="*/ 354 h 519"/>
              <a:gd name="T34" fmla="*/ 196 w 906"/>
              <a:gd name="T35" fmla="*/ 398 h 519"/>
              <a:gd name="T36" fmla="*/ 274 w 906"/>
              <a:gd name="T37" fmla="*/ 463 h 519"/>
              <a:gd name="T38" fmla="*/ 342 w 906"/>
              <a:gd name="T39" fmla="*/ 499 h 519"/>
              <a:gd name="T40" fmla="*/ 424 w 906"/>
              <a:gd name="T41" fmla="*/ 519 h 519"/>
              <a:gd name="T42" fmla="*/ 484 w 906"/>
              <a:gd name="T43" fmla="*/ 519 h 519"/>
              <a:gd name="T44" fmla="*/ 564 w 906"/>
              <a:gd name="T45" fmla="*/ 497 h 519"/>
              <a:gd name="T46" fmla="*/ 632 w 906"/>
              <a:gd name="T47" fmla="*/ 463 h 519"/>
              <a:gd name="T48" fmla="*/ 712 w 906"/>
              <a:gd name="T49" fmla="*/ 398 h 519"/>
              <a:gd name="T50" fmla="*/ 758 w 906"/>
              <a:gd name="T51" fmla="*/ 354 h 519"/>
              <a:gd name="T52" fmla="*/ 834 w 906"/>
              <a:gd name="T53" fmla="*/ 290 h 519"/>
              <a:gd name="T54" fmla="*/ 864 w 906"/>
              <a:gd name="T55" fmla="*/ 255 h 519"/>
              <a:gd name="T56" fmla="*/ 898 w 906"/>
              <a:gd name="T57" fmla="*/ 191 h 519"/>
              <a:gd name="T58" fmla="*/ 906 w 906"/>
              <a:gd name="T59" fmla="*/ 111 h 519"/>
              <a:gd name="T60" fmla="*/ 88 w 906"/>
              <a:gd name="T61" fmla="*/ 251 h 519"/>
              <a:gd name="T62" fmla="*/ 64 w 906"/>
              <a:gd name="T63" fmla="*/ 219 h 519"/>
              <a:gd name="T64" fmla="*/ 42 w 906"/>
              <a:gd name="T65" fmla="*/ 165 h 519"/>
              <a:gd name="T66" fmla="*/ 40 w 906"/>
              <a:gd name="T67" fmla="*/ 82 h 519"/>
              <a:gd name="T68" fmla="*/ 46 w 906"/>
              <a:gd name="T69" fmla="*/ 54 h 519"/>
              <a:gd name="T70" fmla="*/ 54 w 906"/>
              <a:gd name="T71" fmla="*/ 48 h 519"/>
              <a:gd name="T72" fmla="*/ 88 w 906"/>
              <a:gd name="T73" fmla="*/ 76 h 519"/>
              <a:gd name="T74" fmla="*/ 130 w 906"/>
              <a:gd name="T75" fmla="*/ 121 h 519"/>
              <a:gd name="T76" fmla="*/ 164 w 906"/>
              <a:gd name="T77" fmla="*/ 318 h 519"/>
              <a:gd name="T78" fmla="*/ 88 w 906"/>
              <a:gd name="T79" fmla="*/ 251 h 519"/>
              <a:gd name="T80" fmla="*/ 818 w 906"/>
              <a:gd name="T81" fmla="*/ 251 h 519"/>
              <a:gd name="T82" fmla="*/ 744 w 906"/>
              <a:gd name="T83" fmla="*/ 318 h 519"/>
              <a:gd name="T84" fmla="*/ 778 w 906"/>
              <a:gd name="T85" fmla="*/ 121 h 519"/>
              <a:gd name="T86" fmla="*/ 818 w 906"/>
              <a:gd name="T87" fmla="*/ 76 h 519"/>
              <a:gd name="T88" fmla="*/ 852 w 906"/>
              <a:gd name="T89" fmla="*/ 48 h 519"/>
              <a:gd name="T90" fmla="*/ 858 w 906"/>
              <a:gd name="T91" fmla="*/ 48 h 519"/>
              <a:gd name="T92" fmla="*/ 866 w 906"/>
              <a:gd name="T93" fmla="*/ 82 h 519"/>
              <a:gd name="T94" fmla="*/ 868 w 906"/>
              <a:gd name="T95" fmla="*/ 141 h 519"/>
              <a:gd name="T96" fmla="*/ 852 w 906"/>
              <a:gd name="T97" fmla="*/ 203 h 519"/>
              <a:gd name="T98" fmla="*/ 818 w 906"/>
              <a:gd name="T99" fmla="*/ 251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906" h="519">
                <a:moveTo>
                  <a:pt x="904" y="78"/>
                </a:moveTo>
                <a:lnTo>
                  <a:pt x="904" y="78"/>
                </a:lnTo>
                <a:lnTo>
                  <a:pt x="902" y="60"/>
                </a:lnTo>
                <a:lnTo>
                  <a:pt x="896" y="40"/>
                </a:lnTo>
                <a:lnTo>
                  <a:pt x="892" y="30"/>
                </a:lnTo>
                <a:lnTo>
                  <a:pt x="886" y="22"/>
                </a:lnTo>
                <a:lnTo>
                  <a:pt x="878" y="16"/>
                </a:lnTo>
                <a:lnTo>
                  <a:pt x="870" y="12"/>
                </a:lnTo>
                <a:lnTo>
                  <a:pt x="870" y="12"/>
                </a:lnTo>
                <a:lnTo>
                  <a:pt x="860" y="10"/>
                </a:lnTo>
                <a:lnTo>
                  <a:pt x="848" y="10"/>
                </a:lnTo>
                <a:lnTo>
                  <a:pt x="838" y="14"/>
                </a:lnTo>
                <a:lnTo>
                  <a:pt x="828" y="20"/>
                </a:lnTo>
                <a:lnTo>
                  <a:pt x="810" y="34"/>
                </a:lnTo>
                <a:lnTo>
                  <a:pt x="792" y="48"/>
                </a:lnTo>
                <a:lnTo>
                  <a:pt x="792" y="48"/>
                </a:lnTo>
                <a:lnTo>
                  <a:pt x="762" y="80"/>
                </a:lnTo>
                <a:lnTo>
                  <a:pt x="734" y="117"/>
                </a:lnTo>
                <a:lnTo>
                  <a:pt x="454" y="0"/>
                </a:lnTo>
                <a:lnTo>
                  <a:pt x="174" y="117"/>
                </a:lnTo>
                <a:lnTo>
                  <a:pt x="174" y="117"/>
                </a:lnTo>
                <a:lnTo>
                  <a:pt x="144" y="80"/>
                </a:lnTo>
                <a:lnTo>
                  <a:pt x="114" y="48"/>
                </a:lnTo>
                <a:lnTo>
                  <a:pt x="114" y="48"/>
                </a:lnTo>
                <a:lnTo>
                  <a:pt x="98" y="34"/>
                </a:lnTo>
                <a:lnTo>
                  <a:pt x="78" y="20"/>
                </a:lnTo>
                <a:lnTo>
                  <a:pt x="68" y="14"/>
                </a:lnTo>
                <a:lnTo>
                  <a:pt x="58" y="10"/>
                </a:lnTo>
                <a:lnTo>
                  <a:pt x="48" y="10"/>
                </a:lnTo>
                <a:lnTo>
                  <a:pt x="38" y="12"/>
                </a:lnTo>
                <a:lnTo>
                  <a:pt x="38" y="12"/>
                </a:lnTo>
                <a:lnTo>
                  <a:pt x="28" y="16"/>
                </a:lnTo>
                <a:lnTo>
                  <a:pt x="22" y="22"/>
                </a:lnTo>
                <a:lnTo>
                  <a:pt x="16" y="30"/>
                </a:lnTo>
                <a:lnTo>
                  <a:pt x="12" y="40"/>
                </a:lnTo>
                <a:lnTo>
                  <a:pt x="6" y="60"/>
                </a:lnTo>
                <a:lnTo>
                  <a:pt x="2" y="78"/>
                </a:lnTo>
                <a:lnTo>
                  <a:pt x="2" y="78"/>
                </a:lnTo>
                <a:lnTo>
                  <a:pt x="0" y="111"/>
                </a:lnTo>
                <a:lnTo>
                  <a:pt x="0" y="141"/>
                </a:lnTo>
                <a:lnTo>
                  <a:pt x="4" y="169"/>
                </a:lnTo>
                <a:lnTo>
                  <a:pt x="10" y="191"/>
                </a:lnTo>
                <a:lnTo>
                  <a:pt x="18" y="213"/>
                </a:lnTo>
                <a:lnTo>
                  <a:pt x="30" y="235"/>
                </a:lnTo>
                <a:lnTo>
                  <a:pt x="44" y="255"/>
                </a:lnTo>
                <a:lnTo>
                  <a:pt x="60" y="274"/>
                </a:lnTo>
                <a:lnTo>
                  <a:pt x="60" y="274"/>
                </a:lnTo>
                <a:lnTo>
                  <a:pt x="74" y="290"/>
                </a:lnTo>
                <a:lnTo>
                  <a:pt x="88" y="304"/>
                </a:lnTo>
                <a:lnTo>
                  <a:pt x="120" y="332"/>
                </a:lnTo>
                <a:lnTo>
                  <a:pt x="148" y="354"/>
                </a:lnTo>
                <a:lnTo>
                  <a:pt x="170" y="370"/>
                </a:lnTo>
                <a:lnTo>
                  <a:pt x="170" y="370"/>
                </a:lnTo>
                <a:lnTo>
                  <a:pt x="196" y="398"/>
                </a:lnTo>
                <a:lnTo>
                  <a:pt x="222" y="422"/>
                </a:lnTo>
                <a:lnTo>
                  <a:pt x="254" y="449"/>
                </a:lnTo>
                <a:lnTo>
                  <a:pt x="274" y="463"/>
                </a:lnTo>
                <a:lnTo>
                  <a:pt x="296" y="475"/>
                </a:lnTo>
                <a:lnTo>
                  <a:pt x="318" y="487"/>
                </a:lnTo>
                <a:lnTo>
                  <a:pt x="342" y="499"/>
                </a:lnTo>
                <a:lnTo>
                  <a:pt x="368" y="507"/>
                </a:lnTo>
                <a:lnTo>
                  <a:pt x="396" y="513"/>
                </a:lnTo>
                <a:lnTo>
                  <a:pt x="424" y="519"/>
                </a:lnTo>
                <a:lnTo>
                  <a:pt x="454" y="519"/>
                </a:lnTo>
                <a:lnTo>
                  <a:pt x="454" y="519"/>
                </a:lnTo>
                <a:lnTo>
                  <a:pt x="484" y="519"/>
                </a:lnTo>
                <a:lnTo>
                  <a:pt x="512" y="513"/>
                </a:lnTo>
                <a:lnTo>
                  <a:pt x="538" y="507"/>
                </a:lnTo>
                <a:lnTo>
                  <a:pt x="564" y="497"/>
                </a:lnTo>
                <a:lnTo>
                  <a:pt x="588" y="487"/>
                </a:lnTo>
                <a:lnTo>
                  <a:pt x="612" y="475"/>
                </a:lnTo>
                <a:lnTo>
                  <a:pt x="632" y="463"/>
                </a:lnTo>
                <a:lnTo>
                  <a:pt x="652" y="449"/>
                </a:lnTo>
                <a:lnTo>
                  <a:pt x="686" y="422"/>
                </a:lnTo>
                <a:lnTo>
                  <a:pt x="712" y="398"/>
                </a:lnTo>
                <a:lnTo>
                  <a:pt x="738" y="370"/>
                </a:lnTo>
                <a:lnTo>
                  <a:pt x="738" y="370"/>
                </a:lnTo>
                <a:lnTo>
                  <a:pt x="758" y="354"/>
                </a:lnTo>
                <a:lnTo>
                  <a:pt x="786" y="332"/>
                </a:lnTo>
                <a:lnTo>
                  <a:pt x="818" y="304"/>
                </a:lnTo>
                <a:lnTo>
                  <a:pt x="834" y="290"/>
                </a:lnTo>
                <a:lnTo>
                  <a:pt x="848" y="274"/>
                </a:lnTo>
                <a:lnTo>
                  <a:pt x="848" y="274"/>
                </a:lnTo>
                <a:lnTo>
                  <a:pt x="864" y="255"/>
                </a:lnTo>
                <a:lnTo>
                  <a:pt x="878" y="235"/>
                </a:lnTo>
                <a:lnTo>
                  <a:pt x="888" y="213"/>
                </a:lnTo>
                <a:lnTo>
                  <a:pt x="898" y="191"/>
                </a:lnTo>
                <a:lnTo>
                  <a:pt x="904" y="169"/>
                </a:lnTo>
                <a:lnTo>
                  <a:pt x="906" y="141"/>
                </a:lnTo>
                <a:lnTo>
                  <a:pt x="906" y="111"/>
                </a:lnTo>
                <a:lnTo>
                  <a:pt x="904" y="78"/>
                </a:lnTo>
                <a:lnTo>
                  <a:pt x="904" y="78"/>
                </a:lnTo>
                <a:close/>
                <a:moveTo>
                  <a:pt x="88" y="251"/>
                </a:moveTo>
                <a:lnTo>
                  <a:pt x="88" y="251"/>
                </a:lnTo>
                <a:lnTo>
                  <a:pt x="76" y="235"/>
                </a:lnTo>
                <a:lnTo>
                  <a:pt x="64" y="219"/>
                </a:lnTo>
                <a:lnTo>
                  <a:pt x="54" y="203"/>
                </a:lnTo>
                <a:lnTo>
                  <a:pt x="46" y="185"/>
                </a:lnTo>
                <a:lnTo>
                  <a:pt x="42" y="165"/>
                </a:lnTo>
                <a:lnTo>
                  <a:pt x="38" y="141"/>
                </a:lnTo>
                <a:lnTo>
                  <a:pt x="38" y="113"/>
                </a:lnTo>
                <a:lnTo>
                  <a:pt x="40" y="82"/>
                </a:lnTo>
                <a:lnTo>
                  <a:pt x="40" y="82"/>
                </a:lnTo>
                <a:lnTo>
                  <a:pt x="44" y="64"/>
                </a:lnTo>
                <a:lnTo>
                  <a:pt x="46" y="54"/>
                </a:lnTo>
                <a:lnTo>
                  <a:pt x="50" y="48"/>
                </a:lnTo>
                <a:lnTo>
                  <a:pt x="50" y="48"/>
                </a:lnTo>
                <a:lnTo>
                  <a:pt x="54" y="48"/>
                </a:lnTo>
                <a:lnTo>
                  <a:pt x="62" y="52"/>
                </a:lnTo>
                <a:lnTo>
                  <a:pt x="72" y="62"/>
                </a:lnTo>
                <a:lnTo>
                  <a:pt x="88" y="76"/>
                </a:lnTo>
                <a:lnTo>
                  <a:pt x="88" y="76"/>
                </a:lnTo>
                <a:lnTo>
                  <a:pt x="108" y="95"/>
                </a:lnTo>
                <a:lnTo>
                  <a:pt x="130" y="121"/>
                </a:lnTo>
                <a:lnTo>
                  <a:pt x="164" y="165"/>
                </a:lnTo>
                <a:lnTo>
                  <a:pt x="164" y="318"/>
                </a:lnTo>
                <a:lnTo>
                  <a:pt x="164" y="318"/>
                </a:lnTo>
                <a:lnTo>
                  <a:pt x="126" y="288"/>
                </a:lnTo>
                <a:lnTo>
                  <a:pt x="106" y="268"/>
                </a:lnTo>
                <a:lnTo>
                  <a:pt x="88" y="251"/>
                </a:lnTo>
                <a:lnTo>
                  <a:pt x="88" y="251"/>
                </a:lnTo>
                <a:close/>
                <a:moveTo>
                  <a:pt x="818" y="251"/>
                </a:moveTo>
                <a:lnTo>
                  <a:pt x="818" y="251"/>
                </a:lnTo>
                <a:lnTo>
                  <a:pt x="800" y="268"/>
                </a:lnTo>
                <a:lnTo>
                  <a:pt x="782" y="288"/>
                </a:lnTo>
                <a:lnTo>
                  <a:pt x="744" y="318"/>
                </a:lnTo>
                <a:lnTo>
                  <a:pt x="744" y="165"/>
                </a:lnTo>
                <a:lnTo>
                  <a:pt x="744" y="165"/>
                </a:lnTo>
                <a:lnTo>
                  <a:pt x="778" y="121"/>
                </a:lnTo>
                <a:lnTo>
                  <a:pt x="798" y="95"/>
                </a:lnTo>
                <a:lnTo>
                  <a:pt x="818" y="76"/>
                </a:lnTo>
                <a:lnTo>
                  <a:pt x="818" y="76"/>
                </a:lnTo>
                <a:lnTo>
                  <a:pt x="834" y="62"/>
                </a:lnTo>
                <a:lnTo>
                  <a:pt x="846" y="52"/>
                </a:lnTo>
                <a:lnTo>
                  <a:pt x="852" y="48"/>
                </a:lnTo>
                <a:lnTo>
                  <a:pt x="856" y="48"/>
                </a:lnTo>
                <a:lnTo>
                  <a:pt x="856" y="48"/>
                </a:lnTo>
                <a:lnTo>
                  <a:pt x="858" y="48"/>
                </a:lnTo>
                <a:lnTo>
                  <a:pt x="860" y="54"/>
                </a:lnTo>
                <a:lnTo>
                  <a:pt x="864" y="64"/>
                </a:lnTo>
                <a:lnTo>
                  <a:pt x="866" y="82"/>
                </a:lnTo>
                <a:lnTo>
                  <a:pt x="866" y="82"/>
                </a:lnTo>
                <a:lnTo>
                  <a:pt x="870" y="113"/>
                </a:lnTo>
                <a:lnTo>
                  <a:pt x="868" y="141"/>
                </a:lnTo>
                <a:lnTo>
                  <a:pt x="866" y="165"/>
                </a:lnTo>
                <a:lnTo>
                  <a:pt x="860" y="185"/>
                </a:lnTo>
                <a:lnTo>
                  <a:pt x="852" y="203"/>
                </a:lnTo>
                <a:lnTo>
                  <a:pt x="844" y="219"/>
                </a:lnTo>
                <a:lnTo>
                  <a:pt x="832" y="235"/>
                </a:lnTo>
                <a:lnTo>
                  <a:pt x="818" y="251"/>
                </a:lnTo>
                <a:lnTo>
                  <a:pt x="818" y="251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977900" y="1351935"/>
            <a:ext cx="1866900" cy="615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buClr>
                <a:schemeClr val="accent2"/>
              </a:buClr>
            </a:pPr>
            <a:r>
              <a:rPr lang="en-GB" sz="1800" b="1" dirty="0" err="1">
                <a:solidFill>
                  <a:srgbClr val="002060"/>
                </a:solidFill>
                <a:latin typeface="Arial" charset="0"/>
              </a:rPr>
              <a:t>Lecciones</a:t>
            </a:r>
            <a:r>
              <a:rPr lang="en-GB" sz="1800" b="1" dirty="0">
                <a:solidFill>
                  <a:srgbClr val="002060"/>
                </a:solidFill>
                <a:latin typeface="Arial" charset="0"/>
              </a:rPr>
              <a:t> del COVID -19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800" dirty="0" err="1" smtClean="0"/>
          </a:p>
        </p:txBody>
      </p:sp>
      <p:sp>
        <p:nvSpPr>
          <p:cNvPr id="12" name="TextBox 11"/>
          <p:cNvSpPr txBox="1"/>
          <p:nvPr/>
        </p:nvSpPr>
        <p:spPr bwMode="gray">
          <a:xfrm>
            <a:off x="3340100" y="1326536"/>
            <a:ext cx="2603500" cy="1936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 err="1" smtClean="0"/>
              <a:t>Fallas</a:t>
            </a:r>
            <a:r>
              <a:rPr lang="en-GB" sz="1600" dirty="0" smtClean="0"/>
              <a:t> </a:t>
            </a:r>
            <a:r>
              <a:rPr lang="en-GB" sz="1600" dirty="0" err="1" smtClean="0"/>
              <a:t>en</a:t>
            </a:r>
            <a:r>
              <a:rPr lang="en-GB" sz="1600" dirty="0" smtClean="0"/>
              <a:t> la </a:t>
            </a:r>
            <a:r>
              <a:rPr lang="en-GB" sz="1600" dirty="0" err="1" smtClean="0"/>
              <a:t>suscripción</a:t>
            </a:r>
            <a:endParaRPr lang="en-GB" sz="1600" dirty="0" smtClean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 err="1" smtClean="0"/>
              <a:t>Incertidumbre</a:t>
            </a:r>
            <a:endParaRPr lang="en-GB" sz="1600" dirty="0" smtClean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 err="1" smtClean="0"/>
              <a:t>Retos</a:t>
            </a:r>
            <a:r>
              <a:rPr lang="en-GB" sz="1600" dirty="0" smtClean="0"/>
              <a:t> </a:t>
            </a:r>
            <a:r>
              <a:rPr lang="en-GB" sz="1600" dirty="0" err="1" smtClean="0"/>
              <a:t>operacionales</a:t>
            </a:r>
            <a:endParaRPr lang="en-GB" sz="1600" dirty="0" smtClean="0"/>
          </a:p>
        </p:txBody>
      </p:sp>
      <p:sp>
        <p:nvSpPr>
          <p:cNvPr id="13" name="Oval 12"/>
          <p:cNvSpPr/>
          <p:nvPr/>
        </p:nvSpPr>
        <p:spPr bwMode="gray">
          <a:xfrm>
            <a:off x="4101124" y="2510504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Avances médicos</a:t>
            </a: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1026319" y="4031021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Presión sobre los servicios sanitarios</a:t>
            </a: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3977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gray">
          <a:xfrm flipH="1">
            <a:off x="9123484" y="64477"/>
            <a:ext cx="26378" cy="6377719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064010" y="2444443"/>
            <a:ext cx="2145323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>
                <a:solidFill>
                  <a:schemeClr val="accent1"/>
                </a:solidFill>
              </a:rPr>
              <a:t>2</a:t>
            </a:r>
            <a:endParaRPr lang="en-GB" sz="5400" dirty="0" smtClean="0">
              <a:solidFill>
                <a:schemeClr val="accent1"/>
              </a:solidFill>
            </a:endParaRP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800" dirty="0" err="1" smtClean="0"/>
              <a:t>Economía</a:t>
            </a:r>
            <a:endParaRPr lang="en-GB" sz="2800" dirty="0" smtClean="0"/>
          </a:p>
        </p:txBody>
      </p:sp>
      <p:sp>
        <p:nvSpPr>
          <p:cNvPr id="6" name="Oval 5"/>
          <p:cNvSpPr/>
          <p:nvPr/>
        </p:nvSpPr>
        <p:spPr bwMode="gray">
          <a:xfrm>
            <a:off x="899319" y="980035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Tasas de Interés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4320993" y="2992985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err="1" smtClean="0">
                <a:solidFill>
                  <a:srgbClr val="002060"/>
                </a:solidFill>
                <a:latin typeface="Arial" charset="0"/>
              </a:rPr>
              <a:t>Cost</a:t>
            </a: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 of Living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813768B6-2DA2-41F6-967D-B7E8F52CF4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21093" y="4373563"/>
            <a:ext cx="762000" cy="500062"/>
            <a:chOff x="3601" y="2003"/>
            <a:chExt cx="480" cy="315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430A822A-0C59-48D3-A3C1-5B2833C67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003"/>
              <a:ext cx="425" cy="261"/>
            </a:xfrm>
            <a:custGeom>
              <a:avLst/>
              <a:gdLst>
                <a:gd name="T0" fmla="*/ 0 w 425"/>
                <a:gd name="T1" fmla="*/ 261 h 261"/>
                <a:gd name="T2" fmla="*/ 425 w 425"/>
                <a:gd name="T3" fmla="*/ 0 h 261"/>
                <a:gd name="T4" fmla="*/ 212 w 425"/>
                <a:gd name="T5" fmla="*/ 240 h 261"/>
                <a:gd name="T6" fmla="*/ 201 w 425"/>
                <a:gd name="T7" fmla="*/ 239 h 261"/>
                <a:gd name="T8" fmla="*/ 180 w 425"/>
                <a:gd name="T9" fmla="*/ 234 h 261"/>
                <a:gd name="T10" fmla="*/ 161 w 425"/>
                <a:gd name="T11" fmla="*/ 226 h 261"/>
                <a:gd name="T12" fmla="*/ 143 w 425"/>
                <a:gd name="T13" fmla="*/ 214 h 261"/>
                <a:gd name="T14" fmla="*/ 128 w 425"/>
                <a:gd name="T15" fmla="*/ 199 h 261"/>
                <a:gd name="T16" fmla="*/ 116 w 425"/>
                <a:gd name="T17" fmla="*/ 182 h 261"/>
                <a:gd name="T18" fmla="*/ 109 w 425"/>
                <a:gd name="T19" fmla="*/ 163 h 261"/>
                <a:gd name="T20" fmla="*/ 105 w 425"/>
                <a:gd name="T21" fmla="*/ 142 h 261"/>
                <a:gd name="T22" fmla="*/ 104 w 425"/>
                <a:gd name="T23" fmla="*/ 130 h 261"/>
                <a:gd name="T24" fmla="*/ 106 w 425"/>
                <a:gd name="T25" fmla="*/ 108 h 261"/>
                <a:gd name="T26" fmla="*/ 112 w 425"/>
                <a:gd name="T27" fmla="*/ 88 h 261"/>
                <a:gd name="T28" fmla="*/ 123 w 425"/>
                <a:gd name="T29" fmla="*/ 70 h 261"/>
                <a:gd name="T30" fmla="*/ 135 w 425"/>
                <a:gd name="T31" fmla="*/ 54 h 261"/>
                <a:gd name="T32" fmla="*/ 151 w 425"/>
                <a:gd name="T33" fmla="*/ 40 h 261"/>
                <a:gd name="T34" fmla="*/ 170 w 425"/>
                <a:gd name="T35" fmla="*/ 31 h 261"/>
                <a:gd name="T36" fmla="*/ 190 w 425"/>
                <a:gd name="T37" fmla="*/ 24 h 261"/>
                <a:gd name="T38" fmla="*/ 212 w 425"/>
                <a:gd name="T39" fmla="*/ 22 h 261"/>
                <a:gd name="T40" fmla="*/ 223 w 425"/>
                <a:gd name="T41" fmla="*/ 22 h 261"/>
                <a:gd name="T42" fmla="*/ 244 w 425"/>
                <a:gd name="T43" fmla="*/ 27 h 261"/>
                <a:gd name="T44" fmla="*/ 263 w 425"/>
                <a:gd name="T45" fmla="*/ 35 h 261"/>
                <a:gd name="T46" fmla="*/ 281 w 425"/>
                <a:gd name="T47" fmla="*/ 47 h 261"/>
                <a:gd name="T48" fmla="*/ 296 w 425"/>
                <a:gd name="T49" fmla="*/ 62 h 261"/>
                <a:gd name="T50" fmla="*/ 308 w 425"/>
                <a:gd name="T51" fmla="*/ 78 h 261"/>
                <a:gd name="T52" fmla="*/ 315 w 425"/>
                <a:gd name="T53" fmla="*/ 99 h 261"/>
                <a:gd name="T54" fmla="*/ 320 w 425"/>
                <a:gd name="T55" fmla="*/ 120 h 261"/>
                <a:gd name="T56" fmla="*/ 320 w 425"/>
                <a:gd name="T57" fmla="*/ 130 h 261"/>
                <a:gd name="T58" fmla="*/ 318 w 425"/>
                <a:gd name="T59" fmla="*/ 153 h 261"/>
                <a:gd name="T60" fmla="*/ 312 w 425"/>
                <a:gd name="T61" fmla="*/ 173 h 261"/>
                <a:gd name="T62" fmla="*/ 302 w 425"/>
                <a:gd name="T63" fmla="*/ 191 h 261"/>
                <a:gd name="T64" fmla="*/ 289 w 425"/>
                <a:gd name="T65" fmla="*/ 208 h 261"/>
                <a:gd name="T66" fmla="*/ 273 w 425"/>
                <a:gd name="T67" fmla="*/ 221 h 261"/>
                <a:gd name="T68" fmla="*/ 254 w 425"/>
                <a:gd name="T69" fmla="*/ 231 h 261"/>
                <a:gd name="T70" fmla="*/ 234 w 425"/>
                <a:gd name="T71" fmla="*/ 237 h 261"/>
                <a:gd name="T72" fmla="*/ 212 w 425"/>
                <a:gd name="T73" fmla="*/ 24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5" h="261">
                  <a:moveTo>
                    <a:pt x="0" y="0"/>
                  </a:moveTo>
                  <a:lnTo>
                    <a:pt x="0" y="261"/>
                  </a:lnTo>
                  <a:lnTo>
                    <a:pt x="425" y="261"/>
                  </a:lnTo>
                  <a:lnTo>
                    <a:pt x="425" y="0"/>
                  </a:lnTo>
                  <a:lnTo>
                    <a:pt x="0" y="0"/>
                  </a:lnTo>
                  <a:close/>
                  <a:moveTo>
                    <a:pt x="212" y="240"/>
                  </a:moveTo>
                  <a:lnTo>
                    <a:pt x="212" y="240"/>
                  </a:lnTo>
                  <a:lnTo>
                    <a:pt x="201" y="239"/>
                  </a:lnTo>
                  <a:lnTo>
                    <a:pt x="190" y="237"/>
                  </a:lnTo>
                  <a:lnTo>
                    <a:pt x="180" y="234"/>
                  </a:lnTo>
                  <a:lnTo>
                    <a:pt x="170" y="231"/>
                  </a:lnTo>
                  <a:lnTo>
                    <a:pt x="161" y="226"/>
                  </a:lnTo>
                  <a:lnTo>
                    <a:pt x="151" y="221"/>
                  </a:lnTo>
                  <a:lnTo>
                    <a:pt x="143" y="214"/>
                  </a:lnTo>
                  <a:lnTo>
                    <a:pt x="135" y="208"/>
                  </a:lnTo>
                  <a:lnTo>
                    <a:pt x="128" y="199"/>
                  </a:lnTo>
                  <a:lnTo>
                    <a:pt x="123" y="191"/>
                  </a:lnTo>
                  <a:lnTo>
                    <a:pt x="116" y="182"/>
                  </a:lnTo>
                  <a:lnTo>
                    <a:pt x="112" y="173"/>
                  </a:lnTo>
                  <a:lnTo>
                    <a:pt x="109" y="163"/>
                  </a:lnTo>
                  <a:lnTo>
                    <a:pt x="106" y="153"/>
                  </a:lnTo>
                  <a:lnTo>
                    <a:pt x="105" y="142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5" y="120"/>
                  </a:lnTo>
                  <a:lnTo>
                    <a:pt x="106" y="108"/>
                  </a:lnTo>
                  <a:lnTo>
                    <a:pt x="109" y="99"/>
                  </a:lnTo>
                  <a:lnTo>
                    <a:pt x="112" y="88"/>
                  </a:lnTo>
                  <a:lnTo>
                    <a:pt x="116" y="78"/>
                  </a:lnTo>
                  <a:lnTo>
                    <a:pt x="123" y="70"/>
                  </a:lnTo>
                  <a:lnTo>
                    <a:pt x="128" y="62"/>
                  </a:lnTo>
                  <a:lnTo>
                    <a:pt x="135" y="54"/>
                  </a:lnTo>
                  <a:lnTo>
                    <a:pt x="143" y="47"/>
                  </a:lnTo>
                  <a:lnTo>
                    <a:pt x="151" y="40"/>
                  </a:lnTo>
                  <a:lnTo>
                    <a:pt x="161" y="35"/>
                  </a:lnTo>
                  <a:lnTo>
                    <a:pt x="170" y="31"/>
                  </a:lnTo>
                  <a:lnTo>
                    <a:pt x="180" y="27"/>
                  </a:lnTo>
                  <a:lnTo>
                    <a:pt x="190" y="24"/>
                  </a:lnTo>
                  <a:lnTo>
                    <a:pt x="201" y="22"/>
                  </a:lnTo>
                  <a:lnTo>
                    <a:pt x="212" y="22"/>
                  </a:lnTo>
                  <a:lnTo>
                    <a:pt x="212" y="22"/>
                  </a:lnTo>
                  <a:lnTo>
                    <a:pt x="223" y="22"/>
                  </a:lnTo>
                  <a:lnTo>
                    <a:pt x="234" y="24"/>
                  </a:lnTo>
                  <a:lnTo>
                    <a:pt x="244" y="27"/>
                  </a:lnTo>
                  <a:lnTo>
                    <a:pt x="254" y="31"/>
                  </a:lnTo>
                  <a:lnTo>
                    <a:pt x="263" y="35"/>
                  </a:lnTo>
                  <a:lnTo>
                    <a:pt x="273" y="40"/>
                  </a:lnTo>
                  <a:lnTo>
                    <a:pt x="281" y="47"/>
                  </a:lnTo>
                  <a:lnTo>
                    <a:pt x="289" y="54"/>
                  </a:lnTo>
                  <a:lnTo>
                    <a:pt x="296" y="62"/>
                  </a:lnTo>
                  <a:lnTo>
                    <a:pt x="302" y="70"/>
                  </a:lnTo>
                  <a:lnTo>
                    <a:pt x="308" y="78"/>
                  </a:lnTo>
                  <a:lnTo>
                    <a:pt x="312" y="88"/>
                  </a:lnTo>
                  <a:lnTo>
                    <a:pt x="315" y="99"/>
                  </a:lnTo>
                  <a:lnTo>
                    <a:pt x="318" y="108"/>
                  </a:lnTo>
                  <a:lnTo>
                    <a:pt x="320" y="120"/>
                  </a:lnTo>
                  <a:lnTo>
                    <a:pt x="320" y="130"/>
                  </a:lnTo>
                  <a:lnTo>
                    <a:pt x="320" y="130"/>
                  </a:lnTo>
                  <a:lnTo>
                    <a:pt x="320" y="142"/>
                  </a:lnTo>
                  <a:lnTo>
                    <a:pt x="318" y="153"/>
                  </a:lnTo>
                  <a:lnTo>
                    <a:pt x="315" y="163"/>
                  </a:lnTo>
                  <a:lnTo>
                    <a:pt x="312" y="173"/>
                  </a:lnTo>
                  <a:lnTo>
                    <a:pt x="308" y="182"/>
                  </a:lnTo>
                  <a:lnTo>
                    <a:pt x="302" y="191"/>
                  </a:lnTo>
                  <a:lnTo>
                    <a:pt x="296" y="199"/>
                  </a:lnTo>
                  <a:lnTo>
                    <a:pt x="289" y="208"/>
                  </a:lnTo>
                  <a:lnTo>
                    <a:pt x="281" y="214"/>
                  </a:lnTo>
                  <a:lnTo>
                    <a:pt x="273" y="221"/>
                  </a:lnTo>
                  <a:lnTo>
                    <a:pt x="263" y="226"/>
                  </a:lnTo>
                  <a:lnTo>
                    <a:pt x="254" y="231"/>
                  </a:lnTo>
                  <a:lnTo>
                    <a:pt x="244" y="234"/>
                  </a:lnTo>
                  <a:lnTo>
                    <a:pt x="234" y="237"/>
                  </a:lnTo>
                  <a:lnTo>
                    <a:pt x="223" y="239"/>
                  </a:lnTo>
                  <a:lnTo>
                    <a:pt x="212" y="240"/>
                  </a:lnTo>
                  <a:lnTo>
                    <a:pt x="212" y="24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D17BC24-9B94-4407-904D-73A1AF74E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24"/>
              <a:ext cx="459" cy="294"/>
            </a:xfrm>
            <a:custGeom>
              <a:avLst/>
              <a:gdLst>
                <a:gd name="T0" fmla="*/ 459 w 459"/>
                <a:gd name="T1" fmla="*/ 294 h 294"/>
                <a:gd name="T2" fmla="*/ 0 w 459"/>
                <a:gd name="T3" fmla="*/ 294 h 294"/>
                <a:gd name="T4" fmla="*/ 0 w 459"/>
                <a:gd name="T5" fmla="*/ 0 h 294"/>
                <a:gd name="T6" fmla="*/ 33 w 459"/>
                <a:gd name="T7" fmla="*/ 0 h 294"/>
                <a:gd name="T8" fmla="*/ 33 w 459"/>
                <a:gd name="T9" fmla="*/ 261 h 294"/>
                <a:gd name="T10" fmla="*/ 459 w 459"/>
                <a:gd name="T11" fmla="*/ 261 h 294"/>
                <a:gd name="T12" fmla="*/ 459 w 459"/>
                <a:gd name="T13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9" h="294">
                  <a:moveTo>
                    <a:pt x="459" y="294"/>
                  </a:moveTo>
                  <a:lnTo>
                    <a:pt x="0" y="294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261"/>
                  </a:lnTo>
                  <a:lnTo>
                    <a:pt x="459" y="261"/>
                  </a:lnTo>
                  <a:lnTo>
                    <a:pt x="459" y="29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9223429-1DAF-4922-B57A-A387CB7DE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0" y="2063"/>
              <a:ext cx="75" cy="142"/>
            </a:xfrm>
            <a:custGeom>
              <a:avLst/>
              <a:gdLst>
                <a:gd name="T0" fmla="*/ 34 w 75"/>
                <a:gd name="T1" fmla="*/ 128 h 142"/>
                <a:gd name="T2" fmla="*/ 25 w 75"/>
                <a:gd name="T3" fmla="*/ 126 h 142"/>
                <a:gd name="T4" fmla="*/ 17 w 75"/>
                <a:gd name="T5" fmla="*/ 122 h 142"/>
                <a:gd name="T6" fmla="*/ 6 w 75"/>
                <a:gd name="T7" fmla="*/ 112 h 142"/>
                <a:gd name="T8" fmla="*/ 3 w 75"/>
                <a:gd name="T9" fmla="*/ 103 h 142"/>
                <a:gd name="T10" fmla="*/ 14 w 75"/>
                <a:gd name="T11" fmla="*/ 91 h 142"/>
                <a:gd name="T12" fmla="*/ 16 w 75"/>
                <a:gd name="T13" fmla="*/ 100 h 142"/>
                <a:gd name="T14" fmla="*/ 21 w 75"/>
                <a:gd name="T15" fmla="*/ 108 h 142"/>
                <a:gd name="T16" fmla="*/ 27 w 75"/>
                <a:gd name="T17" fmla="*/ 113 h 142"/>
                <a:gd name="T18" fmla="*/ 34 w 75"/>
                <a:gd name="T19" fmla="*/ 115 h 142"/>
                <a:gd name="T20" fmla="*/ 34 w 75"/>
                <a:gd name="T21" fmla="*/ 70 h 142"/>
                <a:gd name="T22" fmla="*/ 16 w 75"/>
                <a:gd name="T23" fmla="*/ 64 h 142"/>
                <a:gd name="T24" fmla="*/ 11 w 75"/>
                <a:gd name="T25" fmla="*/ 60 h 142"/>
                <a:gd name="T26" fmla="*/ 7 w 75"/>
                <a:gd name="T27" fmla="*/ 53 h 142"/>
                <a:gd name="T28" fmla="*/ 3 w 75"/>
                <a:gd name="T29" fmla="*/ 39 h 142"/>
                <a:gd name="T30" fmla="*/ 4 w 75"/>
                <a:gd name="T31" fmla="*/ 31 h 142"/>
                <a:gd name="T32" fmla="*/ 9 w 75"/>
                <a:gd name="T33" fmla="*/ 20 h 142"/>
                <a:gd name="T34" fmla="*/ 13 w 75"/>
                <a:gd name="T35" fmla="*/ 14 h 142"/>
                <a:gd name="T36" fmla="*/ 22 w 75"/>
                <a:gd name="T37" fmla="*/ 10 h 142"/>
                <a:gd name="T38" fmla="*/ 34 w 75"/>
                <a:gd name="T39" fmla="*/ 7 h 142"/>
                <a:gd name="T40" fmla="*/ 43 w 75"/>
                <a:gd name="T41" fmla="*/ 0 h 142"/>
                <a:gd name="T42" fmla="*/ 43 w 75"/>
                <a:gd name="T43" fmla="*/ 7 h 142"/>
                <a:gd name="T44" fmla="*/ 53 w 75"/>
                <a:gd name="T45" fmla="*/ 9 h 142"/>
                <a:gd name="T46" fmla="*/ 62 w 75"/>
                <a:gd name="T47" fmla="*/ 14 h 142"/>
                <a:gd name="T48" fmla="*/ 66 w 75"/>
                <a:gd name="T49" fmla="*/ 18 h 142"/>
                <a:gd name="T50" fmla="*/ 71 w 75"/>
                <a:gd name="T51" fmla="*/ 29 h 142"/>
                <a:gd name="T52" fmla="*/ 59 w 75"/>
                <a:gd name="T53" fmla="*/ 38 h 142"/>
                <a:gd name="T54" fmla="*/ 56 w 75"/>
                <a:gd name="T55" fmla="*/ 30 h 142"/>
                <a:gd name="T56" fmla="*/ 53 w 75"/>
                <a:gd name="T57" fmla="*/ 25 h 142"/>
                <a:gd name="T58" fmla="*/ 43 w 75"/>
                <a:gd name="T59" fmla="*/ 18 h 142"/>
                <a:gd name="T60" fmla="*/ 43 w 75"/>
                <a:gd name="T61" fmla="*/ 59 h 142"/>
                <a:gd name="T62" fmla="*/ 56 w 75"/>
                <a:gd name="T63" fmla="*/ 63 h 142"/>
                <a:gd name="T64" fmla="*/ 67 w 75"/>
                <a:gd name="T65" fmla="*/ 70 h 142"/>
                <a:gd name="T66" fmla="*/ 71 w 75"/>
                <a:gd name="T67" fmla="*/ 75 h 142"/>
                <a:gd name="T68" fmla="*/ 73 w 75"/>
                <a:gd name="T69" fmla="*/ 80 h 142"/>
                <a:gd name="T70" fmla="*/ 75 w 75"/>
                <a:gd name="T71" fmla="*/ 93 h 142"/>
                <a:gd name="T72" fmla="*/ 75 w 75"/>
                <a:gd name="T73" fmla="*/ 99 h 142"/>
                <a:gd name="T74" fmla="*/ 70 w 75"/>
                <a:gd name="T75" fmla="*/ 112 h 142"/>
                <a:gd name="T76" fmla="*/ 66 w 75"/>
                <a:gd name="T77" fmla="*/ 117 h 142"/>
                <a:gd name="T78" fmla="*/ 55 w 75"/>
                <a:gd name="T79" fmla="*/ 125 h 142"/>
                <a:gd name="T80" fmla="*/ 43 w 75"/>
                <a:gd name="T81" fmla="*/ 127 h 142"/>
                <a:gd name="T82" fmla="*/ 34 w 75"/>
                <a:gd name="T83" fmla="*/ 142 h 142"/>
                <a:gd name="T84" fmla="*/ 34 w 75"/>
                <a:gd name="T85" fmla="*/ 18 h 142"/>
                <a:gd name="T86" fmla="*/ 24 w 75"/>
                <a:gd name="T87" fmla="*/ 23 h 142"/>
                <a:gd name="T88" fmla="*/ 22 w 75"/>
                <a:gd name="T89" fmla="*/ 25 h 142"/>
                <a:gd name="T90" fmla="*/ 16 w 75"/>
                <a:gd name="T91" fmla="*/ 38 h 142"/>
                <a:gd name="T92" fmla="*/ 17 w 75"/>
                <a:gd name="T93" fmla="*/ 44 h 142"/>
                <a:gd name="T94" fmla="*/ 21 w 75"/>
                <a:gd name="T95" fmla="*/ 49 h 142"/>
                <a:gd name="T96" fmla="*/ 34 w 75"/>
                <a:gd name="T97" fmla="*/ 58 h 142"/>
                <a:gd name="T98" fmla="*/ 43 w 75"/>
                <a:gd name="T99" fmla="*/ 115 h 142"/>
                <a:gd name="T100" fmla="*/ 46 w 75"/>
                <a:gd name="T101" fmla="*/ 115 h 142"/>
                <a:gd name="T102" fmla="*/ 53 w 75"/>
                <a:gd name="T103" fmla="*/ 111 h 142"/>
                <a:gd name="T104" fmla="*/ 56 w 75"/>
                <a:gd name="T105" fmla="*/ 109 h 142"/>
                <a:gd name="T106" fmla="*/ 60 w 75"/>
                <a:gd name="T107" fmla="*/ 101 h 142"/>
                <a:gd name="T108" fmla="*/ 62 w 75"/>
                <a:gd name="T109" fmla="*/ 94 h 142"/>
                <a:gd name="T110" fmla="*/ 61 w 75"/>
                <a:gd name="T111" fmla="*/ 86 h 142"/>
                <a:gd name="T112" fmla="*/ 58 w 75"/>
                <a:gd name="T113" fmla="*/ 81 h 142"/>
                <a:gd name="T114" fmla="*/ 52 w 75"/>
                <a:gd name="T115" fmla="*/ 77 h 142"/>
                <a:gd name="T116" fmla="*/ 43 w 75"/>
                <a:gd name="T117" fmla="*/ 11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142">
                  <a:moveTo>
                    <a:pt x="34" y="142"/>
                  </a:moveTo>
                  <a:lnTo>
                    <a:pt x="34" y="128"/>
                  </a:lnTo>
                  <a:lnTo>
                    <a:pt x="34" y="128"/>
                  </a:lnTo>
                  <a:lnTo>
                    <a:pt x="25" y="126"/>
                  </a:lnTo>
                  <a:lnTo>
                    <a:pt x="17" y="122"/>
                  </a:lnTo>
                  <a:lnTo>
                    <a:pt x="17" y="122"/>
                  </a:lnTo>
                  <a:lnTo>
                    <a:pt x="11" y="118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3" y="103"/>
                  </a:lnTo>
                  <a:lnTo>
                    <a:pt x="0" y="93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6" y="10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4" y="111"/>
                  </a:lnTo>
                  <a:lnTo>
                    <a:pt x="27" y="113"/>
                  </a:lnTo>
                  <a:lnTo>
                    <a:pt x="30" y="115"/>
                  </a:lnTo>
                  <a:lnTo>
                    <a:pt x="34" y="115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2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1" y="60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4" y="47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1"/>
                  </a:lnTo>
                  <a:lnTo>
                    <a:pt x="6" y="25"/>
                  </a:lnTo>
                  <a:lnTo>
                    <a:pt x="9" y="20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7" y="12"/>
                  </a:lnTo>
                  <a:lnTo>
                    <a:pt x="22" y="10"/>
                  </a:lnTo>
                  <a:lnTo>
                    <a:pt x="28" y="8"/>
                  </a:lnTo>
                  <a:lnTo>
                    <a:pt x="34" y="7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8" y="8"/>
                  </a:lnTo>
                  <a:lnTo>
                    <a:pt x="53" y="9"/>
                  </a:lnTo>
                  <a:lnTo>
                    <a:pt x="58" y="11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6" y="18"/>
                  </a:lnTo>
                  <a:lnTo>
                    <a:pt x="69" y="23"/>
                  </a:lnTo>
                  <a:lnTo>
                    <a:pt x="71" y="29"/>
                  </a:lnTo>
                  <a:lnTo>
                    <a:pt x="73" y="35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6" y="30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49" y="21"/>
                  </a:lnTo>
                  <a:lnTo>
                    <a:pt x="43" y="18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63" y="66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71" y="75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5" y="86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9"/>
                  </a:lnTo>
                  <a:lnTo>
                    <a:pt x="73" y="105"/>
                  </a:lnTo>
                  <a:lnTo>
                    <a:pt x="70" y="112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2" y="121"/>
                  </a:lnTo>
                  <a:lnTo>
                    <a:pt x="55" y="125"/>
                  </a:lnTo>
                  <a:lnTo>
                    <a:pt x="49" y="127"/>
                  </a:lnTo>
                  <a:lnTo>
                    <a:pt x="43" y="127"/>
                  </a:lnTo>
                  <a:lnTo>
                    <a:pt x="43" y="142"/>
                  </a:lnTo>
                  <a:lnTo>
                    <a:pt x="34" y="142"/>
                  </a:lnTo>
                  <a:close/>
                  <a:moveTo>
                    <a:pt x="34" y="18"/>
                  </a:moveTo>
                  <a:lnTo>
                    <a:pt x="34" y="18"/>
                  </a:lnTo>
                  <a:lnTo>
                    <a:pt x="27" y="21"/>
                  </a:lnTo>
                  <a:lnTo>
                    <a:pt x="24" y="23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18" y="3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44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4" y="58"/>
                  </a:lnTo>
                  <a:lnTo>
                    <a:pt x="34" y="18"/>
                  </a:lnTo>
                  <a:close/>
                  <a:moveTo>
                    <a:pt x="43" y="115"/>
                  </a:moveTo>
                  <a:lnTo>
                    <a:pt x="43" y="115"/>
                  </a:lnTo>
                  <a:lnTo>
                    <a:pt x="46" y="115"/>
                  </a:lnTo>
                  <a:lnTo>
                    <a:pt x="50" y="113"/>
                  </a:lnTo>
                  <a:lnTo>
                    <a:pt x="53" y="111"/>
                  </a:lnTo>
                  <a:lnTo>
                    <a:pt x="56" y="109"/>
                  </a:lnTo>
                  <a:lnTo>
                    <a:pt x="56" y="109"/>
                  </a:lnTo>
                  <a:lnTo>
                    <a:pt x="59" y="105"/>
                  </a:lnTo>
                  <a:lnTo>
                    <a:pt x="60" y="101"/>
                  </a:lnTo>
                  <a:lnTo>
                    <a:pt x="61" y="98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1" y="86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5" y="79"/>
                  </a:lnTo>
                  <a:lnTo>
                    <a:pt x="52" y="77"/>
                  </a:lnTo>
                  <a:lnTo>
                    <a:pt x="43" y="73"/>
                  </a:lnTo>
                  <a:lnTo>
                    <a:pt x="43" y="11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2" name="Group 4">
            <a:extLst>
              <a:ext uri="{FF2B5EF4-FFF2-40B4-BE49-F238E27FC236}">
                <a16:creationId xmlns:a16="http://schemas.microsoft.com/office/drawing/2014/main" id="{83A7BA53-EAA8-4996-A3E4-65F2855A94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99419" y="2209800"/>
            <a:ext cx="762000" cy="611188"/>
            <a:chOff x="3601" y="1968"/>
            <a:chExt cx="480" cy="38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2FAE0EC-C983-4CA7-B92F-76ABB5F81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968"/>
              <a:ext cx="480" cy="345"/>
            </a:xfrm>
            <a:custGeom>
              <a:avLst/>
              <a:gdLst>
                <a:gd name="T0" fmla="*/ 480 w 480"/>
                <a:gd name="T1" fmla="*/ 0 h 345"/>
                <a:gd name="T2" fmla="*/ 358 w 480"/>
                <a:gd name="T3" fmla="*/ 5 h 345"/>
                <a:gd name="T4" fmla="*/ 400 w 480"/>
                <a:gd name="T5" fmla="*/ 46 h 345"/>
                <a:gd name="T6" fmla="*/ 255 w 480"/>
                <a:gd name="T7" fmla="*/ 191 h 345"/>
                <a:gd name="T8" fmla="*/ 187 w 480"/>
                <a:gd name="T9" fmla="*/ 123 h 345"/>
                <a:gd name="T10" fmla="*/ 0 w 480"/>
                <a:gd name="T11" fmla="*/ 310 h 345"/>
                <a:gd name="T12" fmla="*/ 35 w 480"/>
                <a:gd name="T13" fmla="*/ 345 h 345"/>
                <a:gd name="T14" fmla="*/ 187 w 480"/>
                <a:gd name="T15" fmla="*/ 193 h 345"/>
                <a:gd name="T16" fmla="*/ 255 w 480"/>
                <a:gd name="T17" fmla="*/ 259 h 345"/>
                <a:gd name="T18" fmla="*/ 433 w 480"/>
                <a:gd name="T19" fmla="*/ 80 h 345"/>
                <a:gd name="T20" fmla="*/ 475 w 480"/>
                <a:gd name="T21" fmla="*/ 121 h 345"/>
                <a:gd name="T22" fmla="*/ 480 w 480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0" h="345">
                  <a:moveTo>
                    <a:pt x="480" y="0"/>
                  </a:moveTo>
                  <a:lnTo>
                    <a:pt x="358" y="5"/>
                  </a:lnTo>
                  <a:lnTo>
                    <a:pt x="400" y="46"/>
                  </a:lnTo>
                  <a:lnTo>
                    <a:pt x="255" y="191"/>
                  </a:lnTo>
                  <a:lnTo>
                    <a:pt x="187" y="123"/>
                  </a:lnTo>
                  <a:lnTo>
                    <a:pt x="0" y="310"/>
                  </a:lnTo>
                  <a:lnTo>
                    <a:pt x="35" y="345"/>
                  </a:lnTo>
                  <a:lnTo>
                    <a:pt x="187" y="193"/>
                  </a:lnTo>
                  <a:lnTo>
                    <a:pt x="255" y="259"/>
                  </a:lnTo>
                  <a:lnTo>
                    <a:pt x="433" y="80"/>
                  </a:lnTo>
                  <a:lnTo>
                    <a:pt x="475" y="121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F49B462C-C27B-4E20-850A-E1EACDA2F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" y="2123"/>
              <a:ext cx="365" cy="230"/>
            </a:xfrm>
            <a:custGeom>
              <a:avLst/>
              <a:gdLst>
                <a:gd name="T0" fmla="*/ 121 w 365"/>
                <a:gd name="T1" fmla="*/ 110 h 230"/>
                <a:gd name="T2" fmla="*/ 0 w 365"/>
                <a:gd name="T3" fmla="*/ 230 h 230"/>
                <a:gd name="T4" fmla="*/ 365 w 365"/>
                <a:gd name="T5" fmla="*/ 230 h 230"/>
                <a:gd name="T6" fmla="*/ 365 w 365"/>
                <a:gd name="T7" fmla="*/ 0 h 230"/>
                <a:gd name="T8" fmla="*/ 189 w 365"/>
                <a:gd name="T9" fmla="*/ 176 h 230"/>
                <a:gd name="T10" fmla="*/ 121 w 365"/>
                <a:gd name="T11" fmla="*/ 11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5" h="230">
                  <a:moveTo>
                    <a:pt x="121" y="110"/>
                  </a:moveTo>
                  <a:lnTo>
                    <a:pt x="0" y="230"/>
                  </a:lnTo>
                  <a:lnTo>
                    <a:pt x="365" y="230"/>
                  </a:lnTo>
                  <a:lnTo>
                    <a:pt x="365" y="0"/>
                  </a:lnTo>
                  <a:lnTo>
                    <a:pt x="189" y="176"/>
                  </a:lnTo>
                  <a:lnTo>
                    <a:pt x="121" y="11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5" name="Freihandform: Form 43">
            <a:extLst>
              <a:ext uri="{FF2B5EF4-FFF2-40B4-BE49-F238E27FC236}">
                <a16:creationId xmlns:a16="http://schemas.microsoft.com/office/drawing/2014/main" id="{A7169294-87F5-464C-870A-67FBD4C6B6B7}"/>
              </a:ext>
            </a:extLst>
          </p:cNvPr>
          <p:cNvSpPr/>
          <p:nvPr/>
        </p:nvSpPr>
        <p:spPr bwMode="gray">
          <a:xfrm flipH="1">
            <a:off x="4118769" y="1043644"/>
            <a:ext cx="3317523" cy="1440000"/>
          </a:xfrm>
          <a:custGeom>
            <a:avLst/>
            <a:gdLst>
              <a:gd name="connsiteX0" fmla="*/ 0 w 5616540"/>
              <a:gd name="connsiteY0" fmla="*/ 0 h 3095715"/>
              <a:gd name="connsiteX1" fmla="*/ 5616540 w 5616540"/>
              <a:gd name="connsiteY1" fmla="*/ 0 h 3095715"/>
              <a:gd name="connsiteX2" fmla="*/ 5616540 w 5616540"/>
              <a:gd name="connsiteY2" fmla="*/ 2644949 h 3095715"/>
              <a:gd name="connsiteX3" fmla="*/ 1709391 w 5616540"/>
              <a:gd name="connsiteY3" fmla="*/ 2644949 h 3095715"/>
              <a:gd name="connsiteX4" fmla="*/ 1818315 w 5616540"/>
              <a:gd name="connsiteY4" fmla="*/ 3095715 h 3095715"/>
              <a:gd name="connsiteX5" fmla="*/ 838830 w 5616540"/>
              <a:gd name="connsiteY5" fmla="*/ 2644949 h 3095715"/>
              <a:gd name="connsiteX6" fmla="*/ 1 w 5616540"/>
              <a:gd name="connsiteY6" fmla="*/ 2644949 h 309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16540" h="3095715">
                <a:moveTo>
                  <a:pt x="0" y="0"/>
                </a:moveTo>
                <a:lnTo>
                  <a:pt x="5616540" y="0"/>
                </a:lnTo>
                <a:lnTo>
                  <a:pt x="5616540" y="2644949"/>
                </a:lnTo>
                <a:lnTo>
                  <a:pt x="1709391" y="2644949"/>
                </a:lnTo>
                <a:lnTo>
                  <a:pt x="1818315" y="3095715"/>
                </a:lnTo>
                <a:lnTo>
                  <a:pt x="838830" y="2644949"/>
                </a:lnTo>
                <a:lnTo>
                  <a:pt x="1" y="2644949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1800" b="1" dirty="0" smtClean="0"/>
              <a:t>¡¡</a:t>
            </a:r>
            <a:r>
              <a:rPr lang="en-GB" sz="1800" b="1" dirty="0" err="1" smtClean="0"/>
              <a:t>Presiones</a:t>
            </a:r>
            <a:r>
              <a:rPr lang="en-GB" sz="1800" b="1" dirty="0" smtClean="0"/>
              <a:t> </a:t>
            </a:r>
            <a:r>
              <a:rPr lang="en-GB" sz="1800" b="1" dirty="0" err="1" smtClean="0"/>
              <a:t>causadas</a:t>
            </a:r>
            <a:r>
              <a:rPr lang="en-GB" sz="1800" b="1" dirty="0" smtClean="0"/>
              <a:t> </a:t>
            </a:r>
            <a:r>
              <a:rPr lang="en-GB" sz="1800" b="1" dirty="0" err="1" smtClean="0"/>
              <a:t>por</a:t>
            </a:r>
            <a:r>
              <a:rPr lang="en-GB" sz="1800" b="1" dirty="0" smtClean="0"/>
              <a:t> la </a:t>
            </a:r>
            <a:r>
              <a:rPr lang="en-GB" sz="1800" b="1" dirty="0" err="1" smtClean="0"/>
              <a:t>inflación</a:t>
            </a:r>
            <a:r>
              <a:rPr lang="en-GB" sz="1800" b="1" dirty="0" smtClean="0"/>
              <a:t>!!</a:t>
            </a:r>
            <a:endParaRPr lang="en-GB" sz="1800" b="1" dirty="0"/>
          </a:p>
        </p:txBody>
      </p:sp>
      <p:sp>
        <p:nvSpPr>
          <p:cNvPr id="3" name="Rounded Rectangle 2"/>
          <p:cNvSpPr/>
          <p:nvPr/>
        </p:nvSpPr>
        <p:spPr bwMode="gray">
          <a:xfrm>
            <a:off x="4568643" y="5531151"/>
            <a:ext cx="1866900" cy="48895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rPr>
              <a:t>Caducidades</a:t>
            </a:r>
            <a:endParaRPr kumimoji="0" lang="en-GB" sz="1600" b="0" i="0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  <p:cxnSp>
        <p:nvCxnSpPr>
          <p:cNvPr id="17" name="Straight Connector 16"/>
          <p:cNvCxnSpPr>
            <a:stCxn id="7" idx="4"/>
            <a:endCxn id="3" idx="0"/>
          </p:cNvCxnSpPr>
          <p:nvPr/>
        </p:nvCxnSpPr>
        <p:spPr bwMode="gray">
          <a:xfrm>
            <a:off x="5502093" y="5266285"/>
            <a:ext cx="0" cy="26486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Oval 22"/>
          <p:cNvSpPr/>
          <p:nvPr/>
        </p:nvSpPr>
        <p:spPr bwMode="gray">
          <a:xfrm>
            <a:off x="1306334" y="3758680"/>
            <a:ext cx="2042164" cy="1871115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Desempleo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577B848B-8CE5-4516-A095-705AA23E60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48945" y="4640262"/>
            <a:ext cx="356942" cy="647700"/>
            <a:chOff x="3601" y="1725"/>
            <a:chExt cx="480" cy="871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856D8FE-6885-46E5-B3C0-6FECCABD3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1" y="1725"/>
              <a:ext cx="120" cy="871"/>
            </a:xfrm>
            <a:custGeom>
              <a:avLst/>
              <a:gdLst>
                <a:gd name="T0" fmla="*/ 120 w 120"/>
                <a:gd name="T1" fmla="*/ 401 h 871"/>
                <a:gd name="T2" fmla="*/ 84 w 120"/>
                <a:gd name="T3" fmla="*/ 380 h 871"/>
                <a:gd name="T4" fmla="*/ 84 w 120"/>
                <a:gd name="T5" fmla="*/ 178 h 871"/>
                <a:gd name="T6" fmla="*/ 107 w 120"/>
                <a:gd name="T7" fmla="*/ 121 h 871"/>
                <a:gd name="T8" fmla="*/ 84 w 120"/>
                <a:gd name="T9" fmla="*/ 0 h 871"/>
                <a:gd name="T10" fmla="*/ 34 w 120"/>
                <a:gd name="T11" fmla="*/ 0 h 871"/>
                <a:gd name="T12" fmla="*/ 11 w 120"/>
                <a:gd name="T13" fmla="*/ 121 h 871"/>
                <a:gd name="T14" fmla="*/ 34 w 120"/>
                <a:gd name="T15" fmla="*/ 178 h 871"/>
                <a:gd name="T16" fmla="*/ 34 w 120"/>
                <a:gd name="T17" fmla="*/ 380 h 871"/>
                <a:gd name="T18" fmla="*/ 0 w 120"/>
                <a:gd name="T19" fmla="*/ 401 h 871"/>
                <a:gd name="T20" fmla="*/ 0 w 120"/>
                <a:gd name="T21" fmla="*/ 810 h 871"/>
                <a:gd name="T22" fmla="*/ 0 w 120"/>
                <a:gd name="T23" fmla="*/ 810 h 871"/>
                <a:gd name="T24" fmla="*/ 0 w 120"/>
                <a:gd name="T25" fmla="*/ 810 h 871"/>
                <a:gd name="T26" fmla="*/ 0 w 120"/>
                <a:gd name="T27" fmla="*/ 810 h 871"/>
                <a:gd name="T28" fmla="*/ 0 w 120"/>
                <a:gd name="T29" fmla="*/ 821 h 871"/>
                <a:gd name="T30" fmla="*/ 4 w 120"/>
                <a:gd name="T31" fmla="*/ 833 h 871"/>
                <a:gd name="T32" fmla="*/ 10 w 120"/>
                <a:gd name="T33" fmla="*/ 844 h 871"/>
                <a:gd name="T34" fmla="*/ 17 w 120"/>
                <a:gd name="T35" fmla="*/ 852 h 871"/>
                <a:gd name="T36" fmla="*/ 25 w 120"/>
                <a:gd name="T37" fmla="*/ 859 h 871"/>
                <a:gd name="T38" fmla="*/ 36 w 120"/>
                <a:gd name="T39" fmla="*/ 865 h 871"/>
                <a:gd name="T40" fmla="*/ 48 w 120"/>
                <a:gd name="T41" fmla="*/ 869 h 871"/>
                <a:gd name="T42" fmla="*/ 59 w 120"/>
                <a:gd name="T43" fmla="*/ 871 h 871"/>
                <a:gd name="T44" fmla="*/ 59 w 120"/>
                <a:gd name="T45" fmla="*/ 871 h 871"/>
                <a:gd name="T46" fmla="*/ 70 w 120"/>
                <a:gd name="T47" fmla="*/ 869 h 871"/>
                <a:gd name="T48" fmla="*/ 82 w 120"/>
                <a:gd name="T49" fmla="*/ 865 h 871"/>
                <a:gd name="T50" fmla="*/ 93 w 120"/>
                <a:gd name="T51" fmla="*/ 859 h 871"/>
                <a:gd name="T52" fmla="*/ 101 w 120"/>
                <a:gd name="T53" fmla="*/ 852 h 871"/>
                <a:gd name="T54" fmla="*/ 109 w 120"/>
                <a:gd name="T55" fmla="*/ 844 h 871"/>
                <a:gd name="T56" fmla="*/ 114 w 120"/>
                <a:gd name="T57" fmla="*/ 833 h 871"/>
                <a:gd name="T58" fmla="*/ 118 w 120"/>
                <a:gd name="T59" fmla="*/ 821 h 871"/>
                <a:gd name="T60" fmla="*/ 120 w 120"/>
                <a:gd name="T61" fmla="*/ 810 h 871"/>
                <a:gd name="T62" fmla="*/ 120 w 120"/>
                <a:gd name="T63" fmla="*/ 810 h 871"/>
                <a:gd name="T64" fmla="*/ 120 w 120"/>
                <a:gd name="T65" fmla="*/ 810 h 871"/>
                <a:gd name="T66" fmla="*/ 120 w 120"/>
                <a:gd name="T67" fmla="*/ 40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" h="871">
                  <a:moveTo>
                    <a:pt x="120" y="401"/>
                  </a:moveTo>
                  <a:lnTo>
                    <a:pt x="84" y="380"/>
                  </a:lnTo>
                  <a:lnTo>
                    <a:pt x="84" y="178"/>
                  </a:lnTo>
                  <a:lnTo>
                    <a:pt x="107" y="121"/>
                  </a:lnTo>
                  <a:lnTo>
                    <a:pt x="84" y="0"/>
                  </a:lnTo>
                  <a:lnTo>
                    <a:pt x="34" y="0"/>
                  </a:lnTo>
                  <a:lnTo>
                    <a:pt x="11" y="121"/>
                  </a:lnTo>
                  <a:lnTo>
                    <a:pt x="34" y="178"/>
                  </a:lnTo>
                  <a:lnTo>
                    <a:pt x="34" y="380"/>
                  </a:lnTo>
                  <a:lnTo>
                    <a:pt x="0" y="401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21"/>
                  </a:lnTo>
                  <a:lnTo>
                    <a:pt x="4" y="833"/>
                  </a:lnTo>
                  <a:lnTo>
                    <a:pt x="10" y="844"/>
                  </a:lnTo>
                  <a:lnTo>
                    <a:pt x="17" y="852"/>
                  </a:lnTo>
                  <a:lnTo>
                    <a:pt x="25" y="859"/>
                  </a:lnTo>
                  <a:lnTo>
                    <a:pt x="36" y="865"/>
                  </a:lnTo>
                  <a:lnTo>
                    <a:pt x="48" y="869"/>
                  </a:lnTo>
                  <a:lnTo>
                    <a:pt x="59" y="871"/>
                  </a:lnTo>
                  <a:lnTo>
                    <a:pt x="59" y="871"/>
                  </a:lnTo>
                  <a:lnTo>
                    <a:pt x="70" y="869"/>
                  </a:lnTo>
                  <a:lnTo>
                    <a:pt x="82" y="865"/>
                  </a:lnTo>
                  <a:lnTo>
                    <a:pt x="93" y="859"/>
                  </a:lnTo>
                  <a:lnTo>
                    <a:pt x="101" y="852"/>
                  </a:lnTo>
                  <a:lnTo>
                    <a:pt x="109" y="844"/>
                  </a:lnTo>
                  <a:lnTo>
                    <a:pt x="114" y="833"/>
                  </a:lnTo>
                  <a:lnTo>
                    <a:pt x="118" y="821"/>
                  </a:lnTo>
                  <a:lnTo>
                    <a:pt x="120" y="810"/>
                  </a:lnTo>
                  <a:lnTo>
                    <a:pt x="120" y="810"/>
                  </a:lnTo>
                  <a:lnTo>
                    <a:pt x="120" y="810"/>
                  </a:lnTo>
                  <a:lnTo>
                    <a:pt x="120" y="40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11788DA2-22EC-4230-B65A-0BEB7BDA7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725"/>
              <a:ext cx="259" cy="871"/>
            </a:xfrm>
            <a:custGeom>
              <a:avLst/>
              <a:gdLst>
                <a:gd name="T0" fmla="*/ 189 w 259"/>
                <a:gd name="T1" fmla="*/ 98 h 871"/>
                <a:gd name="T2" fmla="*/ 70 w 259"/>
                <a:gd name="T3" fmla="*/ 98 h 871"/>
                <a:gd name="T4" fmla="*/ 70 w 259"/>
                <a:gd name="T5" fmla="*/ 0 h 871"/>
                <a:gd name="T6" fmla="*/ 42 w 259"/>
                <a:gd name="T7" fmla="*/ 21 h 871"/>
                <a:gd name="T8" fmla="*/ 19 w 259"/>
                <a:gd name="T9" fmla="*/ 48 h 871"/>
                <a:gd name="T10" fmla="*/ 6 w 259"/>
                <a:gd name="T11" fmla="*/ 79 h 871"/>
                <a:gd name="T12" fmla="*/ 0 w 259"/>
                <a:gd name="T13" fmla="*/ 115 h 871"/>
                <a:gd name="T14" fmla="*/ 2 w 259"/>
                <a:gd name="T15" fmla="*/ 138 h 871"/>
                <a:gd name="T16" fmla="*/ 17 w 259"/>
                <a:gd name="T17" fmla="*/ 178 h 871"/>
                <a:gd name="T18" fmla="*/ 42 w 259"/>
                <a:gd name="T19" fmla="*/ 213 h 871"/>
                <a:gd name="T20" fmla="*/ 78 w 259"/>
                <a:gd name="T21" fmla="*/ 236 h 871"/>
                <a:gd name="T22" fmla="*/ 99 w 259"/>
                <a:gd name="T23" fmla="*/ 384 h 871"/>
                <a:gd name="T24" fmla="*/ 70 w 259"/>
                <a:gd name="T25" fmla="*/ 810 h 871"/>
                <a:gd name="T26" fmla="*/ 70 w 259"/>
                <a:gd name="T27" fmla="*/ 810 h 871"/>
                <a:gd name="T28" fmla="*/ 70 w 259"/>
                <a:gd name="T29" fmla="*/ 821 h 871"/>
                <a:gd name="T30" fmla="*/ 80 w 259"/>
                <a:gd name="T31" fmla="*/ 844 h 871"/>
                <a:gd name="T32" fmla="*/ 95 w 259"/>
                <a:gd name="T33" fmla="*/ 859 h 871"/>
                <a:gd name="T34" fmla="*/ 118 w 259"/>
                <a:gd name="T35" fmla="*/ 869 h 871"/>
                <a:gd name="T36" fmla="*/ 130 w 259"/>
                <a:gd name="T37" fmla="*/ 871 h 871"/>
                <a:gd name="T38" fmla="*/ 152 w 259"/>
                <a:gd name="T39" fmla="*/ 865 h 871"/>
                <a:gd name="T40" fmla="*/ 171 w 259"/>
                <a:gd name="T41" fmla="*/ 852 h 871"/>
                <a:gd name="T42" fmla="*/ 185 w 259"/>
                <a:gd name="T43" fmla="*/ 833 h 871"/>
                <a:gd name="T44" fmla="*/ 189 w 259"/>
                <a:gd name="T45" fmla="*/ 810 h 871"/>
                <a:gd name="T46" fmla="*/ 189 w 259"/>
                <a:gd name="T47" fmla="*/ 810 h 871"/>
                <a:gd name="T48" fmla="*/ 160 w 259"/>
                <a:gd name="T49" fmla="*/ 384 h 871"/>
                <a:gd name="T50" fmla="*/ 160 w 259"/>
                <a:gd name="T51" fmla="*/ 242 h 871"/>
                <a:gd name="T52" fmla="*/ 200 w 259"/>
                <a:gd name="T53" fmla="*/ 224 h 871"/>
                <a:gd name="T54" fmla="*/ 230 w 259"/>
                <a:gd name="T55" fmla="*/ 196 h 871"/>
                <a:gd name="T56" fmla="*/ 251 w 259"/>
                <a:gd name="T57" fmla="*/ 159 h 871"/>
                <a:gd name="T58" fmla="*/ 259 w 259"/>
                <a:gd name="T59" fmla="*/ 115 h 871"/>
                <a:gd name="T60" fmla="*/ 257 w 259"/>
                <a:gd name="T61" fmla="*/ 98 h 871"/>
                <a:gd name="T62" fmla="*/ 248 w 259"/>
                <a:gd name="T63" fmla="*/ 63 h 871"/>
                <a:gd name="T64" fmla="*/ 230 w 259"/>
                <a:gd name="T65" fmla="*/ 33 h 871"/>
                <a:gd name="T66" fmla="*/ 204 w 259"/>
                <a:gd name="T67" fmla="*/ 10 h 871"/>
                <a:gd name="T68" fmla="*/ 189 w 259"/>
                <a:gd name="T69" fmla="*/ 0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9" h="871">
                  <a:moveTo>
                    <a:pt x="189" y="0"/>
                  </a:moveTo>
                  <a:lnTo>
                    <a:pt x="189" y="98"/>
                  </a:lnTo>
                  <a:lnTo>
                    <a:pt x="130" y="138"/>
                  </a:lnTo>
                  <a:lnTo>
                    <a:pt x="70" y="98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5" y="10"/>
                  </a:lnTo>
                  <a:lnTo>
                    <a:pt x="42" y="21"/>
                  </a:lnTo>
                  <a:lnTo>
                    <a:pt x="29" y="33"/>
                  </a:lnTo>
                  <a:lnTo>
                    <a:pt x="19" y="48"/>
                  </a:lnTo>
                  <a:lnTo>
                    <a:pt x="11" y="63"/>
                  </a:lnTo>
                  <a:lnTo>
                    <a:pt x="6" y="79"/>
                  </a:lnTo>
                  <a:lnTo>
                    <a:pt x="2" y="9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2" y="138"/>
                  </a:lnTo>
                  <a:lnTo>
                    <a:pt x="8" y="159"/>
                  </a:lnTo>
                  <a:lnTo>
                    <a:pt x="17" y="178"/>
                  </a:lnTo>
                  <a:lnTo>
                    <a:pt x="29" y="196"/>
                  </a:lnTo>
                  <a:lnTo>
                    <a:pt x="42" y="213"/>
                  </a:lnTo>
                  <a:lnTo>
                    <a:pt x="59" y="224"/>
                  </a:lnTo>
                  <a:lnTo>
                    <a:pt x="78" y="236"/>
                  </a:lnTo>
                  <a:lnTo>
                    <a:pt x="99" y="242"/>
                  </a:lnTo>
                  <a:lnTo>
                    <a:pt x="99" y="384"/>
                  </a:lnTo>
                  <a:lnTo>
                    <a:pt x="70" y="401"/>
                  </a:lnTo>
                  <a:lnTo>
                    <a:pt x="70" y="810"/>
                  </a:lnTo>
                  <a:lnTo>
                    <a:pt x="70" y="810"/>
                  </a:lnTo>
                  <a:lnTo>
                    <a:pt x="70" y="810"/>
                  </a:lnTo>
                  <a:lnTo>
                    <a:pt x="70" y="810"/>
                  </a:lnTo>
                  <a:lnTo>
                    <a:pt x="70" y="821"/>
                  </a:lnTo>
                  <a:lnTo>
                    <a:pt x="74" y="833"/>
                  </a:lnTo>
                  <a:lnTo>
                    <a:pt x="80" y="844"/>
                  </a:lnTo>
                  <a:lnTo>
                    <a:pt x="88" y="852"/>
                  </a:lnTo>
                  <a:lnTo>
                    <a:pt x="95" y="859"/>
                  </a:lnTo>
                  <a:lnTo>
                    <a:pt x="107" y="865"/>
                  </a:lnTo>
                  <a:lnTo>
                    <a:pt x="118" y="869"/>
                  </a:lnTo>
                  <a:lnTo>
                    <a:pt x="130" y="871"/>
                  </a:lnTo>
                  <a:lnTo>
                    <a:pt x="130" y="871"/>
                  </a:lnTo>
                  <a:lnTo>
                    <a:pt x="141" y="869"/>
                  </a:lnTo>
                  <a:lnTo>
                    <a:pt x="152" y="865"/>
                  </a:lnTo>
                  <a:lnTo>
                    <a:pt x="164" y="859"/>
                  </a:lnTo>
                  <a:lnTo>
                    <a:pt x="171" y="852"/>
                  </a:lnTo>
                  <a:lnTo>
                    <a:pt x="179" y="844"/>
                  </a:lnTo>
                  <a:lnTo>
                    <a:pt x="185" y="833"/>
                  </a:lnTo>
                  <a:lnTo>
                    <a:pt x="189" y="821"/>
                  </a:lnTo>
                  <a:lnTo>
                    <a:pt x="189" y="810"/>
                  </a:lnTo>
                  <a:lnTo>
                    <a:pt x="189" y="810"/>
                  </a:lnTo>
                  <a:lnTo>
                    <a:pt x="189" y="810"/>
                  </a:lnTo>
                  <a:lnTo>
                    <a:pt x="189" y="401"/>
                  </a:lnTo>
                  <a:lnTo>
                    <a:pt x="160" y="384"/>
                  </a:lnTo>
                  <a:lnTo>
                    <a:pt x="160" y="242"/>
                  </a:lnTo>
                  <a:lnTo>
                    <a:pt x="160" y="242"/>
                  </a:lnTo>
                  <a:lnTo>
                    <a:pt x="181" y="236"/>
                  </a:lnTo>
                  <a:lnTo>
                    <a:pt x="200" y="224"/>
                  </a:lnTo>
                  <a:lnTo>
                    <a:pt x="217" y="213"/>
                  </a:lnTo>
                  <a:lnTo>
                    <a:pt x="230" y="196"/>
                  </a:lnTo>
                  <a:lnTo>
                    <a:pt x="242" y="178"/>
                  </a:lnTo>
                  <a:lnTo>
                    <a:pt x="251" y="159"/>
                  </a:lnTo>
                  <a:lnTo>
                    <a:pt x="257" y="138"/>
                  </a:lnTo>
                  <a:lnTo>
                    <a:pt x="259" y="115"/>
                  </a:lnTo>
                  <a:lnTo>
                    <a:pt x="259" y="115"/>
                  </a:lnTo>
                  <a:lnTo>
                    <a:pt x="257" y="98"/>
                  </a:lnTo>
                  <a:lnTo>
                    <a:pt x="253" y="79"/>
                  </a:lnTo>
                  <a:lnTo>
                    <a:pt x="248" y="63"/>
                  </a:lnTo>
                  <a:lnTo>
                    <a:pt x="240" y="48"/>
                  </a:lnTo>
                  <a:lnTo>
                    <a:pt x="230" y="33"/>
                  </a:lnTo>
                  <a:lnTo>
                    <a:pt x="217" y="21"/>
                  </a:lnTo>
                  <a:lnTo>
                    <a:pt x="204" y="10"/>
                  </a:lnTo>
                  <a:lnTo>
                    <a:pt x="189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9035559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gray">
          <a:xfrm flipH="1">
            <a:off x="9123484" y="64477"/>
            <a:ext cx="26378" cy="6377719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064010" y="2444443"/>
            <a:ext cx="2145323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 smtClean="0">
                <a:solidFill>
                  <a:schemeClr val="accent1"/>
                </a:solidFill>
              </a:rPr>
              <a:t>3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800" dirty="0" err="1" smtClean="0"/>
              <a:t>Tecnología</a:t>
            </a:r>
            <a:endParaRPr lang="en-GB" sz="2800" dirty="0" smtClean="0"/>
          </a:p>
        </p:txBody>
      </p:sp>
      <p:sp>
        <p:nvSpPr>
          <p:cNvPr id="6" name="Oval 5"/>
          <p:cNvSpPr/>
          <p:nvPr/>
        </p:nvSpPr>
        <p:spPr bwMode="gray">
          <a:xfrm>
            <a:off x="899319" y="980035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 smtClean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err="1" smtClean="0">
                <a:solidFill>
                  <a:srgbClr val="002060"/>
                </a:solidFill>
                <a:latin typeface="Arial" charset="0"/>
              </a:rPr>
              <a:t>Insurtechs</a:t>
            </a:r>
            <a:endParaRPr lang="es-MX" sz="1800" b="1" dirty="0" smtClean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2252301" y="2343820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 smtClean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 smtClean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Mejora en la atención del cliente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2849383" y="241300"/>
            <a:ext cx="2656067" cy="266065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 smtClean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Productos Personalizados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lang="es-MX" sz="1800" b="1" dirty="0" smtClean="0">
              <a:solidFill>
                <a:srgbClr val="002060"/>
              </a:solidFill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9" name="Freihandform: Form 43">
            <a:extLst>
              <a:ext uri="{FF2B5EF4-FFF2-40B4-BE49-F238E27FC236}">
                <a16:creationId xmlns:a16="http://schemas.microsoft.com/office/drawing/2014/main" id="{A7169294-87F5-464C-870A-67FBD4C6B6B7}"/>
              </a:ext>
            </a:extLst>
          </p:cNvPr>
          <p:cNvSpPr/>
          <p:nvPr/>
        </p:nvSpPr>
        <p:spPr bwMode="gray">
          <a:xfrm flipH="1">
            <a:off x="4457756" y="4617120"/>
            <a:ext cx="3317523" cy="1440000"/>
          </a:xfrm>
          <a:custGeom>
            <a:avLst/>
            <a:gdLst>
              <a:gd name="connsiteX0" fmla="*/ 0 w 5616540"/>
              <a:gd name="connsiteY0" fmla="*/ 0 h 3095715"/>
              <a:gd name="connsiteX1" fmla="*/ 5616540 w 5616540"/>
              <a:gd name="connsiteY1" fmla="*/ 0 h 3095715"/>
              <a:gd name="connsiteX2" fmla="*/ 5616540 w 5616540"/>
              <a:gd name="connsiteY2" fmla="*/ 2644949 h 3095715"/>
              <a:gd name="connsiteX3" fmla="*/ 1709391 w 5616540"/>
              <a:gd name="connsiteY3" fmla="*/ 2644949 h 3095715"/>
              <a:gd name="connsiteX4" fmla="*/ 1818315 w 5616540"/>
              <a:gd name="connsiteY4" fmla="*/ 3095715 h 3095715"/>
              <a:gd name="connsiteX5" fmla="*/ 838830 w 5616540"/>
              <a:gd name="connsiteY5" fmla="*/ 2644949 h 3095715"/>
              <a:gd name="connsiteX6" fmla="*/ 1 w 5616540"/>
              <a:gd name="connsiteY6" fmla="*/ 2644949 h 309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16540" h="3095715">
                <a:moveTo>
                  <a:pt x="0" y="0"/>
                </a:moveTo>
                <a:lnTo>
                  <a:pt x="5616540" y="0"/>
                </a:lnTo>
                <a:lnTo>
                  <a:pt x="5616540" y="2644949"/>
                </a:lnTo>
                <a:lnTo>
                  <a:pt x="1709391" y="2644949"/>
                </a:lnTo>
                <a:lnTo>
                  <a:pt x="1818315" y="3095715"/>
                </a:lnTo>
                <a:lnTo>
                  <a:pt x="838830" y="2644949"/>
                </a:lnTo>
                <a:lnTo>
                  <a:pt x="1" y="2644949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1800" b="1" dirty="0" smtClean="0"/>
              <a:t>Los </a:t>
            </a:r>
            <a:r>
              <a:rPr lang="en-GB" sz="1800" b="1" dirty="0" err="1" smtClean="0"/>
              <a:t>procesos</a:t>
            </a:r>
            <a:r>
              <a:rPr lang="en-GB" sz="1800" b="1" dirty="0" smtClean="0"/>
              <a:t> </a:t>
            </a:r>
            <a:r>
              <a:rPr lang="en-GB" sz="1800" b="1" dirty="0" err="1" smtClean="0"/>
              <a:t>internos</a:t>
            </a:r>
            <a:r>
              <a:rPr lang="en-GB" sz="1800" b="1" dirty="0" smtClean="0"/>
              <a:t> </a:t>
            </a:r>
            <a:r>
              <a:rPr lang="en-GB" sz="1800" b="1" dirty="0" err="1" smtClean="0"/>
              <a:t>también</a:t>
            </a:r>
            <a:r>
              <a:rPr lang="en-GB" sz="1800" b="1" dirty="0" smtClean="0"/>
              <a:t> </a:t>
            </a:r>
            <a:r>
              <a:rPr lang="en-GB" sz="1800" b="1" dirty="0" err="1" smtClean="0"/>
              <a:t>cuentan</a:t>
            </a:r>
            <a:r>
              <a:rPr lang="en-GB" sz="1800" b="1" dirty="0" smtClean="0"/>
              <a:t> </a:t>
            </a:r>
            <a:endParaRPr lang="en-GB" sz="1800" b="1" dirty="0"/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942238C1-EB5C-4E02-A9CD-87B7480AFB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6416" y="1825379"/>
            <a:ext cx="762000" cy="582612"/>
            <a:chOff x="3601" y="1977"/>
            <a:chExt cx="480" cy="36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BA7068-1D55-4F8C-9C1F-E7213A6E9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066"/>
              <a:ext cx="111" cy="109"/>
            </a:xfrm>
            <a:custGeom>
              <a:avLst/>
              <a:gdLst>
                <a:gd name="T0" fmla="*/ 81 w 111"/>
                <a:gd name="T1" fmla="*/ 64 h 109"/>
                <a:gd name="T2" fmla="*/ 103 w 111"/>
                <a:gd name="T3" fmla="*/ 42 h 109"/>
                <a:gd name="T4" fmla="*/ 0 w 111"/>
                <a:gd name="T5" fmla="*/ 0 h 109"/>
                <a:gd name="T6" fmla="*/ 43 w 111"/>
                <a:gd name="T7" fmla="*/ 102 h 109"/>
                <a:gd name="T8" fmla="*/ 66 w 111"/>
                <a:gd name="T9" fmla="*/ 79 h 109"/>
                <a:gd name="T10" fmla="*/ 96 w 111"/>
                <a:gd name="T11" fmla="*/ 109 h 109"/>
                <a:gd name="T12" fmla="*/ 111 w 111"/>
                <a:gd name="T13" fmla="*/ 95 h 109"/>
                <a:gd name="T14" fmla="*/ 81 w 111"/>
                <a:gd name="T15" fmla="*/ 6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09">
                  <a:moveTo>
                    <a:pt x="81" y="64"/>
                  </a:moveTo>
                  <a:lnTo>
                    <a:pt x="103" y="42"/>
                  </a:lnTo>
                  <a:lnTo>
                    <a:pt x="0" y="0"/>
                  </a:lnTo>
                  <a:lnTo>
                    <a:pt x="43" y="102"/>
                  </a:lnTo>
                  <a:lnTo>
                    <a:pt x="66" y="79"/>
                  </a:lnTo>
                  <a:lnTo>
                    <a:pt x="96" y="109"/>
                  </a:lnTo>
                  <a:lnTo>
                    <a:pt x="111" y="95"/>
                  </a:lnTo>
                  <a:lnTo>
                    <a:pt x="81" y="6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332951B-A288-412D-860D-EA6D9089C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1" y="1977"/>
              <a:ext cx="480" cy="322"/>
            </a:xfrm>
            <a:custGeom>
              <a:avLst/>
              <a:gdLst>
                <a:gd name="T0" fmla="*/ 0 w 480"/>
                <a:gd name="T1" fmla="*/ 0 h 322"/>
                <a:gd name="T2" fmla="*/ 0 w 480"/>
                <a:gd name="T3" fmla="*/ 322 h 322"/>
                <a:gd name="T4" fmla="*/ 480 w 480"/>
                <a:gd name="T5" fmla="*/ 322 h 322"/>
                <a:gd name="T6" fmla="*/ 480 w 480"/>
                <a:gd name="T7" fmla="*/ 0 h 322"/>
                <a:gd name="T8" fmla="*/ 0 w 480"/>
                <a:gd name="T9" fmla="*/ 0 h 322"/>
                <a:gd name="T10" fmla="*/ 240 w 480"/>
                <a:gd name="T11" fmla="*/ 312 h 322"/>
                <a:gd name="T12" fmla="*/ 240 w 480"/>
                <a:gd name="T13" fmla="*/ 312 h 322"/>
                <a:gd name="T14" fmla="*/ 237 w 480"/>
                <a:gd name="T15" fmla="*/ 312 h 322"/>
                <a:gd name="T16" fmla="*/ 234 w 480"/>
                <a:gd name="T17" fmla="*/ 311 h 322"/>
                <a:gd name="T18" fmla="*/ 227 w 480"/>
                <a:gd name="T19" fmla="*/ 307 h 322"/>
                <a:gd name="T20" fmla="*/ 224 w 480"/>
                <a:gd name="T21" fmla="*/ 302 h 322"/>
                <a:gd name="T22" fmla="*/ 223 w 480"/>
                <a:gd name="T23" fmla="*/ 299 h 322"/>
                <a:gd name="T24" fmla="*/ 223 w 480"/>
                <a:gd name="T25" fmla="*/ 296 h 322"/>
                <a:gd name="T26" fmla="*/ 223 w 480"/>
                <a:gd name="T27" fmla="*/ 296 h 322"/>
                <a:gd name="T28" fmla="*/ 223 w 480"/>
                <a:gd name="T29" fmla="*/ 293 h 322"/>
                <a:gd name="T30" fmla="*/ 224 w 480"/>
                <a:gd name="T31" fmla="*/ 289 h 322"/>
                <a:gd name="T32" fmla="*/ 227 w 480"/>
                <a:gd name="T33" fmla="*/ 284 h 322"/>
                <a:gd name="T34" fmla="*/ 234 w 480"/>
                <a:gd name="T35" fmla="*/ 280 h 322"/>
                <a:gd name="T36" fmla="*/ 237 w 480"/>
                <a:gd name="T37" fmla="*/ 279 h 322"/>
                <a:gd name="T38" fmla="*/ 240 w 480"/>
                <a:gd name="T39" fmla="*/ 279 h 322"/>
                <a:gd name="T40" fmla="*/ 240 w 480"/>
                <a:gd name="T41" fmla="*/ 279 h 322"/>
                <a:gd name="T42" fmla="*/ 243 w 480"/>
                <a:gd name="T43" fmla="*/ 279 h 322"/>
                <a:gd name="T44" fmla="*/ 246 w 480"/>
                <a:gd name="T45" fmla="*/ 280 h 322"/>
                <a:gd name="T46" fmla="*/ 252 w 480"/>
                <a:gd name="T47" fmla="*/ 284 h 322"/>
                <a:gd name="T48" fmla="*/ 256 w 480"/>
                <a:gd name="T49" fmla="*/ 289 h 322"/>
                <a:gd name="T50" fmla="*/ 256 w 480"/>
                <a:gd name="T51" fmla="*/ 293 h 322"/>
                <a:gd name="T52" fmla="*/ 257 w 480"/>
                <a:gd name="T53" fmla="*/ 296 h 322"/>
                <a:gd name="T54" fmla="*/ 257 w 480"/>
                <a:gd name="T55" fmla="*/ 296 h 322"/>
                <a:gd name="T56" fmla="*/ 256 w 480"/>
                <a:gd name="T57" fmla="*/ 299 h 322"/>
                <a:gd name="T58" fmla="*/ 256 w 480"/>
                <a:gd name="T59" fmla="*/ 302 h 322"/>
                <a:gd name="T60" fmla="*/ 252 w 480"/>
                <a:gd name="T61" fmla="*/ 307 h 322"/>
                <a:gd name="T62" fmla="*/ 246 w 480"/>
                <a:gd name="T63" fmla="*/ 311 h 322"/>
                <a:gd name="T64" fmla="*/ 243 w 480"/>
                <a:gd name="T65" fmla="*/ 312 h 322"/>
                <a:gd name="T66" fmla="*/ 240 w 480"/>
                <a:gd name="T67" fmla="*/ 312 h 322"/>
                <a:gd name="T68" fmla="*/ 240 w 480"/>
                <a:gd name="T69" fmla="*/ 312 h 322"/>
                <a:gd name="T70" fmla="*/ 429 w 480"/>
                <a:gd name="T71" fmla="*/ 272 h 322"/>
                <a:gd name="T72" fmla="*/ 51 w 480"/>
                <a:gd name="T73" fmla="*/ 272 h 322"/>
                <a:gd name="T74" fmla="*/ 51 w 480"/>
                <a:gd name="T75" fmla="*/ 50 h 322"/>
                <a:gd name="T76" fmla="*/ 429 w 480"/>
                <a:gd name="T77" fmla="*/ 50 h 322"/>
                <a:gd name="T78" fmla="*/ 429 w 480"/>
                <a:gd name="T79" fmla="*/ 27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0" h="322">
                  <a:moveTo>
                    <a:pt x="0" y="0"/>
                  </a:moveTo>
                  <a:lnTo>
                    <a:pt x="0" y="322"/>
                  </a:lnTo>
                  <a:lnTo>
                    <a:pt x="480" y="322"/>
                  </a:lnTo>
                  <a:lnTo>
                    <a:pt x="480" y="0"/>
                  </a:lnTo>
                  <a:lnTo>
                    <a:pt x="0" y="0"/>
                  </a:lnTo>
                  <a:close/>
                  <a:moveTo>
                    <a:pt x="240" y="312"/>
                  </a:moveTo>
                  <a:lnTo>
                    <a:pt x="240" y="312"/>
                  </a:lnTo>
                  <a:lnTo>
                    <a:pt x="237" y="312"/>
                  </a:lnTo>
                  <a:lnTo>
                    <a:pt x="234" y="311"/>
                  </a:lnTo>
                  <a:lnTo>
                    <a:pt x="227" y="307"/>
                  </a:lnTo>
                  <a:lnTo>
                    <a:pt x="224" y="302"/>
                  </a:lnTo>
                  <a:lnTo>
                    <a:pt x="223" y="299"/>
                  </a:lnTo>
                  <a:lnTo>
                    <a:pt x="223" y="296"/>
                  </a:lnTo>
                  <a:lnTo>
                    <a:pt x="223" y="296"/>
                  </a:lnTo>
                  <a:lnTo>
                    <a:pt x="223" y="293"/>
                  </a:lnTo>
                  <a:lnTo>
                    <a:pt x="224" y="289"/>
                  </a:lnTo>
                  <a:lnTo>
                    <a:pt x="227" y="284"/>
                  </a:lnTo>
                  <a:lnTo>
                    <a:pt x="234" y="280"/>
                  </a:lnTo>
                  <a:lnTo>
                    <a:pt x="237" y="279"/>
                  </a:lnTo>
                  <a:lnTo>
                    <a:pt x="240" y="279"/>
                  </a:lnTo>
                  <a:lnTo>
                    <a:pt x="240" y="279"/>
                  </a:lnTo>
                  <a:lnTo>
                    <a:pt x="243" y="279"/>
                  </a:lnTo>
                  <a:lnTo>
                    <a:pt x="246" y="280"/>
                  </a:lnTo>
                  <a:lnTo>
                    <a:pt x="252" y="284"/>
                  </a:lnTo>
                  <a:lnTo>
                    <a:pt x="256" y="289"/>
                  </a:lnTo>
                  <a:lnTo>
                    <a:pt x="256" y="293"/>
                  </a:lnTo>
                  <a:lnTo>
                    <a:pt x="257" y="296"/>
                  </a:lnTo>
                  <a:lnTo>
                    <a:pt x="257" y="296"/>
                  </a:lnTo>
                  <a:lnTo>
                    <a:pt x="256" y="299"/>
                  </a:lnTo>
                  <a:lnTo>
                    <a:pt x="256" y="302"/>
                  </a:lnTo>
                  <a:lnTo>
                    <a:pt x="252" y="307"/>
                  </a:lnTo>
                  <a:lnTo>
                    <a:pt x="246" y="311"/>
                  </a:lnTo>
                  <a:lnTo>
                    <a:pt x="243" y="312"/>
                  </a:lnTo>
                  <a:lnTo>
                    <a:pt x="240" y="312"/>
                  </a:lnTo>
                  <a:lnTo>
                    <a:pt x="240" y="312"/>
                  </a:lnTo>
                  <a:close/>
                  <a:moveTo>
                    <a:pt x="429" y="272"/>
                  </a:moveTo>
                  <a:lnTo>
                    <a:pt x="51" y="272"/>
                  </a:lnTo>
                  <a:lnTo>
                    <a:pt x="51" y="50"/>
                  </a:lnTo>
                  <a:lnTo>
                    <a:pt x="429" y="50"/>
                  </a:lnTo>
                  <a:lnTo>
                    <a:pt x="429" y="27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Rectangle 7">
              <a:extLst>
                <a:ext uri="{FF2B5EF4-FFF2-40B4-BE49-F238E27FC236}">
                  <a16:creationId xmlns:a16="http://schemas.microsoft.com/office/drawing/2014/main" id="{E74D2194-CB19-4DC4-BD6E-CD0777E72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9" y="2310"/>
              <a:ext cx="343" cy="34"/>
            </a:xfrm>
            <a:prstGeom prst="rect">
              <a:avLst/>
            </a:pr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744349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>
            <a:endCxn id="4" idx="2"/>
          </p:cNvCxnSpPr>
          <p:nvPr/>
        </p:nvCxnSpPr>
        <p:spPr bwMode="gray">
          <a:xfrm flipH="1">
            <a:off x="9136673" y="64477"/>
            <a:ext cx="13189" cy="4997143"/>
          </a:xfrm>
          <a:prstGeom prst="line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Decision 3"/>
          <p:cNvSpPr/>
          <p:nvPr/>
        </p:nvSpPr>
        <p:spPr bwMode="gray">
          <a:xfrm>
            <a:off x="7466134" y="1445051"/>
            <a:ext cx="3341077" cy="3616569"/>
          </a:xfrm>
          <a:prstGeom prst="flowChartDecision">
            <a:avLst/>
          </a:prstGeom>
          <a:solidFill>
            <a:schemeClr val="bg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7966561" y="2438582"/>
            <a:ext cx="2340221" cy="11136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5400" dirty="0">
                <a:solidFill>
                  <a:schemeClr val="accent1"/>
                </a:solidFill>
              </a:rPr>
              <a:t>4</a:t>
            </a:r>
            <a:endParaRPr lang="en-GB" sz="5400" dirty="0" smtClean="0">
              <a:solidFill>
                <a:schemeClr val="accent1"/>
              </a:solidFill>
            </a:endParaRP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err="1" smtClean="0"/>
              <a:t>Acontecimientos</a:t>
            </a:r>
            <a:r>
              <a:rPr lang="en-GB" dirty="0" smtClean="0"/>
              <a:t> </a:t>
            </a:r>
            <a:r>
              <a:rPr lang="en-GB" dirty="0" err="1" smtClean="0"/>
              <a:t>globales</a:t>
            </a:r>
            <a:endParaRPr lang="en-GB" dirty="0" smtClean="0"/>
          </a:p>
        </p:txBody>
      </p:sp>
      <p:sp>
        <p:nvSpPr>
          <p:cNvPr id="6" name="Oval 5"/>
          <p:cNvSpPr/>
          <p:nvPr/>
        </p:nvSpPr>
        <p:spPr bwMode="gray">
          <a:xfrm>
            <a:off x="958850" y="1301932"/>
            <a:ext cx="2362200" cy="22733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Arial" charset="0"/>
              </a:rPr>
              <a:t>Conflictos</a:t>
            </a: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lang="en-GB" sz="1800" b="1" dirty="0">
              <a:solidFill>
                <a:srgbClr val="002060"/>
              </a:solidFill>
              <a:latin typeface="Arial" charset="0"/>
            </a:endParaRPr>
          </a:p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lang="en-GB" sz="1800" b="1" dirty="0">
              <a:solidFill>
                <a:srgbClr val="002060"/>
              </a:solidFill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4386874" y="3736054"/>
            <a:ext cx="2521926" cy="237264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s-MX" sz="1800" b="1" dirty="0" smtClean="0">
                <a:solidFill>
                  <a:srgbClr val="002060"/>
                </a:solidFill>
                <a:latin typeface="Arial" charset="0"/>
              </a:rPr>
              <a:t>Calentamiento Global</a:t>
            </a: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s-MX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8" name="Freihandform: Form 43">
            <a:extLst>
              <a:ext uri="{FF2B5EF4-FFF2-40B4-BE49-F238E27FC236}">
                <a16:creationId xmlns:a16="http://schemas.microsoft.com/office/drawing/2014/main" id="{A7169294-87F5-464C-870A-67FBD4C6B6B7}"/>
              </a:ext>
            </a:extLst>
          </p:cNvPr>
          <p:cNvSpPr/>
          <p:nvPr/>
        </p:nvSpPr>
        <p:spPr bwMode="gray">
          <a:xfrm flipH="1">
            <a:off x="3989075" y="1746606"/>
            <a:ext cx="3317523" cy="1440000"/>
          </a:xfrm>
          <a:custGeom>
            <a:avLst/>
            <a:gdLst>
              <a:gd name="connsiteX0" fmla="*/ 0 w 5616540"/>
              <a:gd name="connsiteY0" fmla="*/ 0 h 3095715"/>
              <a:gd name="connsiteX1" fmla="*/ 5616540 w 5616540"/>
              <a:gd name="connsiteY1" fmla="*/ 0 h 3095715"/>
              <a:gd name="connsiteX2" fmla="*/ 5616540 w 5616540"/>
              <a:gd name="connsiteY2" fmla="*/ 2644949 h 3095715"/>
              <a:gd name="connsiteX3" fmla="*/ 1709391 w 5616540"/>
              <a:gd name="connsiteY3" fmla="*/ 2644949 h 3095715"/>
              <a:gd name="connsiteX4" fmla="*/ 1818315 w 5616540"/>
              <a:gd name="connsiteY4" fmla="*/ 3095715 h 3095715"/>
              <a:gd name="connsiteX5" fmla="*/ 838830 w 5616540"/>
              <a:gd name="connsiteY5" fmla="*/ 2644949 h 3095715"/>
              <a:gd name="connsiteX6" fmla="*/ 1 w 5616540"/>
              <a:gd name="connsiteY6" fmla="*/ 2644949 h 309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16540" h="3095715">
                <a:moveTo>
                  <a:pt x="0" y="0"/>
                </a:moveTo>
                <a:lnTo>
                  <a:pt x="5616540" y="0"/>
                </a:lnTo>
                <a:lnTo>
                  <a:pt x="5616540" y="2644949"/>
                </a:lnTo>
                <a:lnTo>
                  <a:pt x="1709391" y="2644949"/>
                </a:lnTo>
                <a:lnTo>
                  <a:pt x="1818315" y="3095715"/>
                </a:lnTo>
                <a:lnTo>
                  <a:pt x="838830" y="2644949"/>
                </a:lnTo>
                <a:lnTo>
                  <a:pt x="1" y="2644949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1600" b="1" dirty="0" err="1" smtClean="0"/>
              <a:t>Parece</a:t>
            </a:r>
            <a:r>
              <a:rPr lang="en-GB" sz="1600" b="1" dirty="0" smtClean="0"/>
              <a:t> que no </a:t>
            </a:r>
            <a:r>
              <a:rPr lang="en-GB" sz="1600" b="1" dirty="0" err="1" smtClean="0"/>
              <a:t>nos</a:t>
            </a:r>
            <a:r>
              <a:rPr lang="en-GB" sz="1600" b="1" dirty="0" smtClean="0"/>
              <a:t> </a:t>
            </a:r>
            <a:r>
              <a:rPr lang="en-GB" sz="1600" b="1" dirty="0" err="1" smtClean="0"/>
              <a:t>afectan</a:t>
            </a:r>
            <a:r>
              <a:rPr lang="en-GB" sz="1600" b="1" dirty="0" smtClean="0"/>
              <a:t> </a:t>
            </a:r>
            <a:r>
              <a:rPr lang="en-GB" sz="1600" b="1" dirty="0" err="1" smtClean="0"/>
              <a:t>pero</a:t>
            </a:r>
            <a:r>
              <a:rPr lang="en-GB" sz="1600" b="1" dirty="0" smtClean="0"/>
              <a:t> </a:t>
            </a:r>
            <a:r>
              <a:rPr lang="en-GB" sz="1600" b="1" dirty="0" err="1" smtClean="0"/>
              <a:t>están</a:t>
            </a:r>
            <a:r>
              <a:rPr lang="en-GB" sz="1600" b="1" dirty="0" smtClean="0"/>
              <a:t> </a:t>
            </a:r>
            <a:r>
              <a:rPr lang="en-GB" sz="1600" b="1" dirty="0" err="1" smtClean="0"/>
              <a:t>más</a:t>
            </a:r>
            <a:r>
              <a:rPr lang="en-GB" sz="1600" b="1" dirty="0" smtClean="0"/>
              <a:t> </a:t>
            </a:r>
            <a:r>
              <a:rPr lang="en-GB" sz="1600" b="1" dirty="0" err="1" smtClean="0"/>
              <a:t>cerca</a:t>
            </a:r>
            <a:r>
              <a:rPr lang="en-GB" sz="1600" b="1" dirty="0" smtClean="0"/>
              <a:t> de lo que </a:t>
            </a:r>
            <a:r>
              <a:rPr lang="en-GB" sz="1600" b="1" dirty="0" err="1" smtClean="0"/>
              <a:t>pensamos</a:t>
            </a:r>
            <a:endParaRPr lang="en-GB" sz="1600" b="1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6C82C58-AD55-464E-A5BD-7AD93F0BA0D3}"/>
              </a:ext>
            </a:extLst>
          </p:cNvPr>
          <p:cNvGrpSpPr/>
          <p:nvPr/>
        </p:nvGrpSpPr>
        <p:grpSpPr>
          <a:xfrm>
            <a:off x="1840277" y="2466606"/>
            <a:ext cx="736846" cy="542925"/>
            <a:chOff x="5278438" y="2913063"/>
            <a:chExt cx="1635126" cy="1027112"/>
          </a:xfrm>
          <a:solidFill>
            <a:schemeClr val="accent4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9B426221-ABB1-48ED-81C2-96A6F9299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8438" y="3562350"/>
              <a:ext cx="1463675" cy="377825"/>
            </a:xfrm>
            <a:custGeom>
              <a:avLst/>
              <a:gdLst>
                <a:gd name="T0" fmla="*/ 27 w 386"/>
                <a:gd name="T1" fmla="*/ 50 h 99"/>
                <a:gd name="T2" fmla="*/ 49 w 386"/>
                <a:gd name="T3" fmla="*/ 27 h 99"/>
                <a:gd name="T4" fmla="*/ 72 w 386"/>
                <a:gd name="T5" fmla="*/ 50 h 99"/>
                <a:gd name="T6" fmla="*/ 49 w 386"/>
                <a:gd name="T7" fmla="*/ 72 h 99"/>
                <a:gd name="T8" fmla="*/ 27 w 386"/>
                <a:gd name="T9" fmla="*/ 50 h 99"/>
                <a:gd name="T10" fmla="*/ 99 w 386"/>
                <a:gd name="T11" fmla="*/ 50 h 99"/>
                <a:gd name="T12" fmla="*/ 121 w 386"/>
                <a:gd name="T13" fmla="*/ 27 h 99"/>
                <a:gd name="T14" fmla="*/ 144 w 386"/>
                <a:gd name="T15" fmla="*/ 50 h 99"/>
                <a:gd name="T16" fmla="*/ 121 w 386"/>
                <a:gd name="T17" fmla="*/ 72 h 99"/>
                <a:gd name="T18" fmla="*/ 99 w 386"/>
                <a:gd name="T19" fmla="*/ 50 h 99"/>
                <a:gd name="T20" fmla="*/ 171 w 386"/>
                <a:gd name="T21" fmla="*/ 50 h 99"/>
                <a:gd name="T22" fmla="*/ 193 w 386"/>
                <a:gd name="T23" fmla="*/ 27 h 99"/>
                <a:gd name="T24" fmla="*/ 215 w 386"/>
                <a:gd name="T25" fmla="*/ 50 h 99"/>
                <a:gd name="T26" fmla="*/ 193 w 386"/>
                <a:gd name="T27" fmla="*/ 72 h 99"/>
                <a:gd name="T28" fmla="*/ 171 w 386"/>
                <a:gd name="T29" fmla="*/ 50 h 99"/>
                <a:gd name="T30" fmla="*/ 242 w 386"/>
                <a:gd name="T31" fmla="*/ 50 h 99"/>
                <a:gd name="T32" fmla="*/ 265 w 386"/>
                <a:gd name="T33" fmla="*/ 27 h 99"/>
                <a:gd name="T34" fmla="*/ 287 w 386"/>
                <a:gd name="T35" fmla="*/ 50 h 99"/>
                <a:gd name="T36" fmla="*/ 265 w 386"/>
                <a:gd name="T37" fmla="*/ 72 h 99"/>
                <a:gd name="T38" fmla="*/ 242 w 386"/>
                <a:gd name="T39" fmla="*/ 50 h 99"/>
                <a:gd name="T40" fmla="*/ 314 w 386"/>
                <a:gd name="T41" fmla="*/ 50 h 99"/>
                <a:gd name="T42" fmla="*/ 336 w 386"/>
                <a:gd name="T43" fmla="*/ 27 h 99"/>
                <a:gd name="T44" fmla="*/ 359 w 386"/>
                <a:gd name="T45" fmla="*/ 50 h 99"/>
                <a:gd name="T46" fmla="*/ 336 w 386"/>
                <a:gd name="T47" fmla="*/ 72 h 99"/>
                <a:gd name="T48" fmla="*/ 314 w 386"/>
                <a:gd name="T49" fmla="*/ 50 h 99"/>
                <a:gd name="T50" fmla="*/ 0 w 386"/>
                <a:gd name="T51" fmla="*/ 50 h 99"/>
                <a:gd name="T52" fmla="*/ 49 w 386"/>
                <a:gd name="T53" fmla="*/ 99 h 99"/>
                <a:gd name="T54" fmla="*/ 336 w 386"/>
                <a:gd name="T55" fmla="*/ 99 h 99"/>
                <a:gd name="T56" fmla="*/ 386 w 386"/>
                <a:gd name="T57" fmla="*/ 50 h 99"/>
                <a:gd name="T58" fmla="*/ 336 w 386"/>
                <a:gd name="T59" fmla="*/ 0 h 99"/>
                <a:gd name="T60" fmla="*/ 49 w 386"/>
                <a:gd name="T61" fmla="*/ 0 h 99"/>
                <a:gd name="T62" fmla="*/ 0 w 386"/>
                <a:gd name="T63" fmla="*/ 5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6" h="99">
                  <a:moveTo>
                    <a:pt x="27" y="50"/>
                  </a:moveTo>
                  <a:cubicBezTo>
                    <a:pt x="27" y="37"/>
                    <a:pt x="37" y="27"/>
                    <a:pt x="49" y="27"/>
                  </a:cubicBezTo>
                  <a:cubicBezTo>
                    <a:pt x="62" y="27"/>
                    <a:pt x="72" y="37"/>
                    <a:pt x="72" y="50"/>
                  </a:cubicBezTo>
                  <a:cubicBezTo>
                    <a:pt x="72" y="62"/>
                    <a:pt x="62" y="72"/>
                    <a:pt x="49" y="72"/>
                  </a:cubicBezTo>
                  <a:cubicBezTo>
                    <a:pt x="37" y="72"/>
                    <a:pt x="27" y="62"/>
                    <a:pt x="27" y="50"/>
                  </a:cubicBezTo>
                  <a:moveTo>
                    <a:pt x="99" y="50"/>
                  </a:moveTo>
                  <a:cubicBezTo>
                    <a:pt x="99" y="37"/>
                    <a:pt x="109" y="27"/>
                    <a:pt x="121" y="27"/>
                  </a:cubicBezTo>
                  <a:cubicBezTo>
                    <a:pt x="134" y="27"/>
                    <a:pt x="144" y="37"/>
                    <a:pt x="144" y="50"/>
                  </a:cubicBezTo>
                  <a:cubicBezTo>
                    <a:pt x="144" y="62"/>
                    <a:pt x="134" y="72"/>
                    <a:pt x="121" y="72"/>
                  </a:cubicBezTo>
                  <a:cubicBezTo>
                    <a:pt x="109" y="72"/>
                    <a:pt x="99" y="62"/>
                    <a:pt x="99" y="50"/>
                  </a:cubicBezTo>
                  <a:moveTo>
                    <a:pt x="171" y="50"/>
                  </a:moveTo>
                  <a:cubicBezTo>
                    <a:pt x="171" y="37"/>
                    <a:pt x="181" y="27"/>
                    <a:pt x="193" y="27"/>
                  </a:cubicBezTo>
                  <a:cubicBezTo>
                    <a:pt x="205" y="27"/>
                    <a:pt x="215" y="37"/>
                    <a:pt x="215" y="50"/>
                  </a:cubicBezTo>
                  <a:cubicBezTo>
                    <a:pt x="215" y="62"/>
                    <a:pt x="205" y="72"/>
                    <a:pt x="193" y="72"/>
                  </a:cubicBezTo>
                  <a:cubicBezTo>
                    <a:pt x="181" y="72"/>
                    <a:pt x="171" y="62"/>
                    <a:pt x="171" y="50"/>
                  </a:cubicBezTo>
                  <a:moveTo>
                    <a:pt x="242" y="50"/>
                  </a:moveTo>
                  <a:cubicBezTo>
                    <a:pt x="242" y="37"/>
                    <a:pt x="252" y="27"/>
                    <a:pt x="265" y="27"/>
                  </a:cubicBezTo>
                  <a:cubicBezTo>
                    <a:pt x="277" y="27"/>
                    <a:pt x="287" y="37"/>
                    <a:pt x="287" y="50"/>
                  </a:cubicBezTo>
                  <a:cubicBezTo>
                    <a:pt x="287" y="62"/>
                    <a:pt x="277" y="72"/>
                    <a:pt x="265" y="72"/>
                  </a:cubicBezTo>
                  <a:cubicBezTo>
                    <a:pt x="252" y="72"/>
                    <a:pt x="242" y="62"/>
                    <a:pt x="242" y="50"/>
                  </a:cubicBezTo>
                  <a:moveTo>
                    <a:pt x="314" y="50"/>
                  </a:moveTo>
                  <a:cubicBezTo>
                    <a:pt x="314" y="37"/>
                    <a:pt x="324" y="27"/>
                    <a:pt x="336" y="27"/>
                  </a:cubicBezTo>
                  <a:cubicBezTo>
                    <a:pt x="349" y="27"/>
                    <a:pt x="359" y="37"/>
                    <a:pt x="359" y="50"/>
                  </a:cubicBezTo>
                  <a:cubicBezTo>
                    <a:pt x="359" y="62"/>
                    <a:pt x="349" y="72"/>
                    <a:pt x="336" y="72"/>
                  </a:cubicBezTo>
                  <a:cubicBezTo>
                    <a:pt x="324" y="72"/>
                    <a:pt x="314" y="62"/>
                    <a:pt x="314" y="50"/>
                  </a:cubicBezTo>
                  <a:moveTo>
                    <a:pt x="0" y="50"/>
                  </a:moveTo>
                  <a:cubicBezTo>
                    <a:pt x="0" y="77"/>
                    <a:pt x="22" y="99"/>
                    <a:pt x="49" y="99"/>
                  </a:cubicBezTo>
                  <a:cubicBezTo>
                    <a:pt x="336" y="99"/>
                    <a:pt x="336" y="99"/>
                    <a:pt x="336" y="99"/>
                  </a:cubicBezTo>
                  <a:cubicBezTo>
                    <a:pt x="364" y="99"/>
                    <a:pt x="386" y="77"/>
                    <a:pt x="386" y="50"/>
                  </a:cubicBezTo>
                  <a:cubicBezTo>
                    <a:pt x="386" y="22"/>
                    <a:pt x="364" y="0"/>
                    <a:pt x="33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50"/>
                  </a:cubicBezTo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FDED6258-FE4B-43D2-9770-1C69E26E7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6" y="3125788"/>
              <a:ext cx="630238" cy="101600"/>
            </a:xfrm>
            <a:custGeom>
              <a:avLst/>
              <a:gdLst>
                <a:gd name="T0" fmla="*/ 166 w 166"/>
                <a:gd name="T1" fmla="*/ 9 h 27"/>
                <a:gd name="T2" fmla="*/ 166 w 166"/>
                <a:gd name="T3" fmla="*/ 8 h 27"/>
                <a:gd name="T4" fmla="*/ 166 w 166"/>
                <a:gd name="T5" fmla="*/ 0 h 27"/>
                <a:gd name="T6" fmla="*/ 129 w 166"/>
                <a:gd name="T7" fmla="*/ 0 h 27"/>
                <a:gd name="T8" fmla="*/ 129 w 166"/>
                <a:gd name="T9" fmla="*/ 4 h 27"/>
                <a:gd name="T10" fmla="*/ 0 w 166"/>
                <a:gd name="T11" fmla="*/ 4 h 27"/>
                <a:gd name="T12" fmla="*/ 0 w 166"/>
                <a:gd name="T13" fmla="*/ 22 h 27"/>
                <a:gd name="T14" fmla="*/ 129 w 166"/>
                <a:gd name="T15" fmla="*/ 22 h 27"/>
                <a:gd name="T16" fmla="*/ 129 w 166"/>
                <a:gd name="T17" fmla="*/ 27 h 27"/>
                <a:gd name="T18" fmla="*/ 137 w 166"/>
                <a:gd name="T19" fmla="*/ 27 h 27"/>
                <a:gd name="T20" fmla="*/ 138 w 166"/>
                <a:gd name="T21" fmla="*/ 27 h 27"/>
                <a:gd name="T22" fmla="*/ 157 w 166"/>
                <a:gd name="T23" fmla="*/ 27 h 27"/>
                <a:gd name="T24" fmla="*/ 158 w 166"/>
                <a:gd name="T25" fmla="*/ 27 h 27"/>
                <a:gd name="T26" fmla="*/ 166 w 166"/>
                <a:gd name="T27" fmla="*/ 27 h 27"/>
                <a:gd name="T28" fmla="*/ 166 w 166"/>
                <a:gd name="T29" fmla="*/ 19 h 27"/>
                <a:gd name="T30" fmla="*/ 166 w 166"/>
                <a:gd name="T31" fmla="*/ 18 h 27"/>
                <a:gd name="T32" fmla="*/ 166 w 166"/>
                <a:gd name="T33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27">
                  <a:moveTo>
                    <a:pt x="166" y="9"/>
                  </a:moveTo>
                  <a:cubicBezTo>
                    <a:pt x="166" y="8"/>
                    <a:pt x="166" y="8"/>
                    <a:pt x="166" y="8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9" y="27"/>
                    <a:pt x="129" y="27"/>
                    <a:pt x="129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7" y="27"/>
                    <a:pt x="137" y="27"/>
                    <a:pt x="138" y="27"/>
                  </a:cubicBezTo>
                  <a:cubicBezTo>
                    <a:pt x="157" y="27"/>
                    <a:pt x="157" y="27"/>
                    <a:pt x="157" y="27"/>
                  </a:cubicBezTo>
                  <a:cubicBezTo>
                    <a:pt x="157" y="27"/>
                    <a:pt x="157" y="27"/>
                    <a:pt x="158" y="27"/>
                  </a:cubicBezTo>
                  <a:cubicBezTo>
                    <a:pt x="166" y="27"/>
                    <a:pt x="166" y="27"/>
                    <a:pt x="166" y="27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6" y="18"/>
                    <a:pt x="166" y="18"/>
                  </a:cubicBezTo>
                  <a:lnTo>
                    <a:pt x="166" y="9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E8C9D6D-D1C4-4790-8E30-AB9FA78F9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426" y="2913063"/>
              <a:ext cx="1346200" cy="581025"/>
            </a:xfrm>
            <a:custGeom>
              <a:avLst/>
              <a:gdLst>
                <a:gd name="T0" fmla="*/ 317 w 355"/>
                <a:gd name="T1" fmla="*/ 96 h 153"/>
                <a:gd name="T2" fmla="*/ 240 w 355"/>
                <a:gd name="T3" fmla="*/ 96 h 153"/>
                <a:gd name="T4" fmla="*/ 240 w 355"/>
                <a:gd name="T5" fmla="*/ 41 h 153"/>
                <a:gd name="T6" fmla="*/ 178 w 355"/>
                <a:gd name="T7" fmla="*/ 34 h 153"/>
                <a:gd name="T8" fmla="*/ 178 w 355"/>
                <a:gd name="T9" fmla="*/ 0 h 153"/>
                <a:gd name="T10" fmla="*/ 122 w 355"/>
                <a:gd name="T11" fmla="*/ 0 h 153"/>
                <a:gd name="T12" fmla="*/ 122 w 355"/>
                <a:gd name="T13" fmla="*/ 28 h 153"/>
                <a:gd name="T14" fmla="*/ 98 w 355"/>
                <a:gd name="T15" fmla="*/ 26 h 153"/>
                <a:gd name="T16" fmla="*/ 69 w 355"/>
                <a:gd name="T17" fmla="*/ 96 h 153"/>
                <a:gd name="T18" fmla="*/ 0 w 355"/>
                <a:gd name="T19" fmla="*/ 96 h 153"/>
                <a:gd name="T20" fmla="*/ 0 w 355"/>
                <a:gd name="T21" fmla="*/ 153 h 153"/>
                <a:gd name="T22" fmla="*/ 355 w 355"/>
                <a:gd name="T23" fmla="*/ 153 h 153"/>
                <a:gd name="T24" fmla="*/ 317 w 355"/>
                <a:gd name="T25" fmla="*/ 9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5" h="153">
                  <a:moveTo>
                    <a:pt x="317" y="96"/>
                  </a:moveTo>
                  <a:cubicBezTo>
                    <a:pt x="240" y="96"/>
                    <a:pt x="240" y="96"/>
                    <a:pt x="240" y="96"/>
                  </a:cubicBezTo>
                  <a:cubicBezTo>
                    <a:pt x="240" y="41"/>
                    <a:pt x="240" y="41"/>
                    <a:pt x="240" y="41"/>
                  </a:cubicBezTo>
                  <a:cubicBezTo>
                    <a:pt x="178" y="34"/>
                    <a:pt x="178" y="34"/>
                    <a:pt x="178" y="34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80" y="70"/>
                    <a:pt x="69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55" y="153"/>
                    <a:pt x="355" y="153"/>
                    <a:pt x="355" y="153"/>
                  </a:cubicBezTo>
                  <a:lnTo>
                    <a:pt x="317" y="96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7" name="Group 4">
            <a:extLst>
              <a:ext uri="{FF2B5EF4-FFF2-40B4-BE49-F238E27FC236}">
                <a16:creationId xmlns:a16="http://schemas.microsoft.com/office/drawing/2014/main" id="{B55CC973-AFE2-4F0C-A288-9B85764667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66836" y="5061620"/>
            <a:ext cx="762000" cy="630238"/>
            <a:chOff x="3601" y="1962"/>
            <a:chExt cx="480" cy="39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16AE477-16EC-46B5-B10A-C7BBD083D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" y="2019"/>
              <a:ext cx="438" cy="207"/>
            </a:xfrm>
            <a:custGeom>
              <a:avLst/>
              <a:gdLst>
                <a:gd name="T0" fmla="*/ 384 w 438"/>
                <a:gd name="T1" fmla="*/ 125 h 207"/>
                <a:gd name="T2" fmla="*/ 371 w 438"/>
                <a:gd name="T3" fmla="*/ 127 h 207"/>
                <a:gd name="T4" fmla="*/ 364 w 438"/>
                <a:gd name="T5" fmla="*/ 118 h 207"/>
                <a:gd name="T6" fmla="*/ 367 w 438"/>
                <a:gd name="T7" fmla="*/ 108 h 207"/>
                <a:gd name="T8" fmla="*/ 368 w 438"/>
                <a:gd name="T9" fmla="*/ 96 h 207"/>
                <a:gd name="T10" fmla="*/ 364 w 438"/>
                <a:gd name="T11" fmla="*/ 75 h 207"/>
                <a:gd name="T12" fmla="*/ 352 w 438"/>
                <a:gd name="T13" fmla="*/ 59 h 207"/>
                <a:gd name="T14" fmla="*/ 335 w 438"/>
                <a:gd name="T15" fmla="*/ 48 h 207"/>
                <a:gd name="T16" fmla="*/ 315 w 438"/>
                <a:gd name="T17" fmla="*/ 44 h 207"/>
                <a:gd name="T18" fmla="*/ 308 w 438"/>
                <a:gd name="T19" fmla="*/ 44 h 207"/>
                <a:gd name="T20" fmla="*/ 295 w 438"/>
                <a:gd name="T21" fmla="*/ 47 h 207"/>
                <a:gd name="T22" fmla="*/ 283 w 438"/>
                <a:gd name="T23" fmla="*/ 54 h 207"/>
                <a:gd name="T24" fmla="*/ 279 w 438"/>
                <a:gd name="T25" fmla="*/ 48 h 207"/>
                <a:gd name="T26" fmla="*/ 267 w 438"/>
                <a:gd name="T27" fmla="*/ 28 h 207"/>
                <a:gd name="T28" fmla="*/ 249 w 438"/>
                <a:gd name="T29" fmla="*/ 12 h 207"/>
                <a:gd name="T30" fmla="*/ 227 w 438"/>
                <a:gd name="T31" fmla="*/ 3 h 207"/>
                <a:gd name="T32" fmla="*/ 203 w 438"/>
                <a:gd name="T33" fmla="*/ 0 h 207"/>
                <a:gd name="T34" fmla="*/ 195 w 438"/>
                <a:gd name="T35" fmla="*/ 0 h 207"/>
                <a:gd name="T36" fmla="*/ 178 w 438"/>
                <a:gd name="T37" fmla="*/ 4 h 207"/>
                <a:gd name="T38" fmla="*/ 163 w 438"/>
                <a:gd name="T39" fmla="*/ 10 h 207"/>
                <a:gd name="T40" fmla="*/ 149 w 438"/>
                <a:gd name="T41" fmla="*/ 19 h 207"/>
                <a:gd name="T42" fmla="*/ 139 w 438"/>
                <a:gd name="T43" fmla="*/ 30 h 207"/>
                <a:gd name="T44" fmla="*/ 129 w 438"/>
                <a:gd name="T45" fmla="*/ 44 h 207"/>
                <a:gd name="T46" fmla="*/ 123 w 438"/>
                <a:gd name="T47" fmla="*/ 59 h 207"/>
                <a:gd name="T48" fmla="*/ 120 w 438"/>
                <a:gd name="T49" fmla="*/ 75 h 207"/>
                <a:gd name="T50" fmla="*/ 119 w 438"/>
                <a:gd name="T51" fmla="*/ 84 h 207"/>
                <a:gd name="T52" fmla="*/ 122 w 438"/>
                <a:gd name="T53" fmla="*/ 105 h 207"/>
                <a:gd name="T54" fmla="*/ 113 w 438"/>
                <a:gd name="T55" fmla="*/ 112 h 207"/>
                <a:gd name="T56" fmla="*/ 105 w 438"/>
                <a:gd name="T57" fmla="*/ 109 h 207"/>
                <a:gd name="T58" fmla="*/ 89 w 438"/>
                <a:gd name="T59" fmla="*/ 106 h 207"/>
                <a:gd name="T60" fmla="*/ 81 w 438"/>
                <a:gd name="T61" fmla="*/ 106 h 207"/>
                <a:gd name="T62" fmla="*/ 65 w 438"/>
                <a:gd name="T63" fmla="*/ 108 h 207"/>
                <a:gd name="T64" fmla="*/ 50 w 438"/>
                <a:gd name="T65" fmla="*/ 112 h 207"/>
                <a:gd name="T66" fmla="*/ 36 w 438"/>
                <a:gd name="T67" fmla="*/ 118 h 207"/>
                <a:gd name="T68" fmla="*/ 25 w 438"/>
                <a:gd name="T69" fmla="*/ 127 h 207"/>
                <a:gd name="T70" fmla="*/ 14 w 438"/>
                <a:gd name="T71" fmla="*/ 138 h 207"/>
                <a:gd name="T72" fmla="*/ 7 w 438"/>
                <a:gd name="T73" fmla="*/ 151 h 207"/>
                <a:gd name="T74" fmla="*/ 2 w 438"/>
                <a:gd name="T75" fmla="*/ 165 h 207"/>
                <a:gd name="T76" fmla="*/ 0 w 438"/>
                <a:gd name="T77" fmla="*/ 179 h 207"/>
                <a:gd name="T78" fmla="*/ 1 w 438"/>
                <a:gd name="T79" fmla="*/ 187 h 207"/>
                <a:gd name="T80" fmla="*/ 5 w 438"/>
                <a:gd name="T81" fmla="*/ 200 h 207"/>
                <a:gd name="T82" fmla="*/ 428 w 438"/>
                <a:gd name="T83" fmla="*/ 207 h 207"/>
                <a:gd name="T84" fmla="*/ 433 w 438"/>
                <a:gd name="T85" fmla="*/ 200 h 207"/>
                <a:gd name="T86" fmla="*/ 437 w 438"/>
                <a:gd name="T87" fmla="*/ 186 h 207"/>
                <a:gd name="T88" fmla="*/ 438 w 438"/>
                <a:gd name="T89" fmla="*/ 178 h 207"/>
                <a:gd name="T90" fmla="*/ 434 w 438"/>
                <a:gd name="T91" fmla="*/ 157 h 207"/>
                <a:gd name="T92" fmla="*/ 422 w 438"/>
                <a:gd name="T93" fmla="*/ 140 h 207"/>
                <a:gd name="T94" fmla="*/ 405 w 438"/>
                <a:gd name="T95" fmla="*/ 129 h 207"/>
                <a:gd name="T96" fmla="*/ 384 w 438"/>
                <a:gd name="T97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8" h="207">
                  <a:moveTo>
                    <a:pt x="384" y="125"/>
                  </a:moveTo>
                  <a:lnTo>
                    <a:pt x="384" y="125"/>
                  </a:lnTo>
                  <a:lnTo>
                    <a:pt x="378" y="126"/>
                  </a:lnTo>
                  <a:lnTo>
                    <a:pt x="371" y="127"/>
                  </a:lnTo>
                  <a:lnTo>
                    <a:pt x="359" y="130"/>
                  </a:lnTo>
                  <a:lnTo>
                    <a:pt x="364" y="118"/>
                  </a:lnTo>
                  <a:lnTo>
                    <a:pt x="364" y="118"/>
                  </a:lnTo>
                  <a:lnTo>
                    <a:pt x="367" y="108"/>
                  </a:lnTo>
                  <a:lnTo>
                    <a:pt x="368" y="96"/>
                  </a:lnTo>
                  <a:lnTo>
                    <a:pt x="368" y="96"/>
                  </a:lnTo>
                  <a:lnTo>
                    <a:pt x="367" y="86"/>
                  </a:lnTo>
                  <a:lnTo>
                    <a:pt x="364" y="75"/>
                  </a:lnTo>
                  <a:lnTo>
                    <a:pt x="359" y="67"/>
                  </a:lnTo>
                  <a:lnTo>
                    <a:pt x="352" y="59"/>
                  </a:lnTo>
                  <a:lnTo>
                    <a:pt x="345" y="52"/>
                  </a:lnTo>
                  <a:lnTo>
                    <a:pt x="335" y="48"/>
                  </a:lnTo>
                  <a:lnTo>
                    <a:pt x="326" y="45"/>
                  </a:lnTo>
                  <a:lnTo>
                    <a:pt x="315" y="44"/>
                  </a:lnTo>
                  <a:lnTo>
                    <a:pt x="315" y="44"/>
                  </a:lnTo>
                  <a:lnTo>
                    <a:pt x="308" y="44"/>
                  </a:lnTo>
                  <a:lnTo>
                    <a:pt x="302" y="45"/>
                  </a:lnTo>
                  <a:lnTo>
                    <a:pt x="295" y="47"/>
                  </a:lnTo>
                  <a:lnTo>
                    <a:pt x="289" y="50"/>
                  </a:lnTo>
                  <a:lnTo>
                    <a:pt x="283" y="54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4" y="38"/>
                  </a:lnTo>
                  <a:lnTo>
                    <a:pt x="267" y="28"/>
                  </a:lnTo>
                  <a:lnTo>
                    <a:pt x="258" y="20"/>
                  </a:lnTo>
                  <a:lnTo>
                    <a:pt x="249" y="12"/>
                  </a:lnTo>
                  <a:lnTo>
                    <a:pt x="238" y="7"/>
                  </a:lnTo>
                  <a:lnTo>
                    <a:pt x="227" y="3"/>
                  </a:lnTo>
                  <a:lnTo>
                    <a:pt x="216" y="1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195" y="0"/>
                  </a:lnTo>
                  <a:lnTo>
                    <a:pt x="186" y="2"/>
                  </a:lnTo>
                  <a:lnTo>
                    <a:pt x="178" y="4"/>
                  </a:lnTo>
                  <a:lnTo>
                    <a:pt x="171" y="6"/>
                  </a:lnTo>
                  <a:lnTo>
                    <a:pt x="163" y="10"/>
                  </a:lnTo>
                  <a:lnTo>
                    <a:pt x="157" y="14"/>
                  </a:lnTo>
                  <a:lnTo>
                    <a:pt x="149" y="19"/>
                  </a:lnTo>
                  <a:lnTo>
                    <a:pt x="144" y="24"/>
                  </a:lnTo>
                  <a:lnTo>
                    <a:pt x="139" y="30"/>
                  </a:lnTo>
                  <a:lnTo>
                    <a:pt x="134" y="36"/>
                  </a:lnTo>
                  <a:lnTo>
                    <a:pt x="129" y="44"/>
                  </a:lnTo>
                  <a:lnTo>
                    <a:pt x="126" y="51"/>
                  </a:lnTo>
                  <a:lnTo>
                    <a:pt x="123" y="59"/>
                  </a:lnTo>
                  <a:lnTo>
                    <a:pt x="121" y="67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20" y="94"/>
                  </a:lnTo>
                  <a:lnTo>
                    <a:pt x="122" y="105"/>
                  </a:lnTo>
                  <a:lnTo>
                    <a:pt x="125" y="117"/>
                  </a:lnTo>
                  <a:lnTo>
                    <a:pt x="113" y="112"/>
                  </a:lnTo>
                  <a:lnTo>
                    <a:pt x="113" y="112"/>
                  </a:lnTo>
                  <a:lnTo>
                    <a:pt x="105" y="109"/>
                  </a:lnTo>
                  <a:lnTo>
                    <a:pt x="98" y="108"/>
                  </a:lnTo>
                  <a:lnTo>
                    <a:pt x="89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72" y="106"/>
                  </a:lnTo>
                  <a:lnTo>
                    <a:pt x="65" y="108"/>
                  </a:lnTo>
                  <a:lnTo>
                    <a:pt x="57" y="109"/>
                  </a:lnTo>
                  <a:lnTo>
                    <a:pt x="50" y="112"/>
                  </a:lnTo>
                  <a:lnTo>
                    <a:pt x="43" y="115"/>
                  </a:lnTo>
                  <a:lnTo>
                    <a:pt x="36" y="118"/>
                  </a:lnTo>
                  <a:lnTo>
                    <a:pt x="30" y="123"/>
                  </a:lnTo>
                  <a:lnTo>
                    <a:pt x="25" y="127"/>
                  </a:lnTo>
                  <a:lnTo>
                    <a:pt x="19" y="132"/>
                  </a:lnTo>
                  <a:lnTo>
                    <a:pt x="14" y="138"/>
                  </a:lnTo>
                  <a:lnTo>
                    <a:pt x="10" y="145"/>
                  </a:lnTo>
                  <a:lnTo>
                    <a:pt x="7" y="151"/>
                  </a:lnTo>
                  <a:lnTo>
                    <a:pt x="5" y="157"/>
                  </a:lnTo>
                  <a:lnTo>
                    <a:pt x="2" y="165"/>
                  </a:lnTo>
                  <a:lnTo>
                    <a:pt x="1" y="172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1" y="187"/>
                  </a:lnTo>
                  <a:lnTo>
                    <a:pt x="2" y="193"/>
                  </a:lnTo>
                  <a:lnTo>
                    <a:pt x="5" y="200"/>
                  </a:lnTo>
                  <a:lnTo>
                    <a:pt x="7" y="207"/>
                  </a:lnTo>
                  <a:lnTo>
                    <a:pt x="428" y="207"/>
                  </a:lnTo>
                  <a:lnTo>
                    <a:pt x="428" y="207"/>
                  </a:lnTo>
                  <a:lnTo>
                    <a:pt x="433" y="200"/>
                  </a:lnTo>
                  <a:lnTo>
                    <a:pt x="435" y="193"/>
                  </a:lnTo>
                  <a:lnTo>
                    <a:pt x="437" y="186"/>
                  </a:lnTo>
                  <a:lnTo>
                    <a:pt x="438" y="178"/>
                  </a:lnTo>
                  <a:lnTo>
                    <a:pt x="438" y="178"/>
                  </a:lnTo>
                  <a:lnTo>
                    <a:pt x="437" y="168"/>
                  </a:lnTo>
                  <a:lnTo>
                    <a:pt x="434" y="157"/>
                  </a:lnTo>
                  <a:lnTo>
                    <a:pt x="428" y="148"/>
                  </a:lnTo>
                  <a:lnTo>
                    <a:pt x="422" y="140"/>
                  </a:lnTo>
                  <a:lnTo>
                    <a:pt x="414" y="134"/>
                  </a:lnTo>
                  <a:lnTo>
                    <a:pt x="405" y="129"/>
                  </a:lnTo>
                  <a:lnTo>
                    <a:pt x="395" y="126"/>
                  </a:lnTo>
                  <a:lnTo>
                    <a:pt x="384" y="125"/>
                  </a:lnTo>
                  <a:lnTo>
                    <a:pt x="384" y="12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ACCCB053-515F-425A-B540-62AB37445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2022"/>
              <a:ext cx="52" cy="38"/>
            </a:xfrm>
            <a:custGeom>
              <a:avLst/>
              <a:gdLst>
                <a:gd name="T0" fmla="*/ 42 w 52"/>
                <a:gd name="T1" fmla="*/ 38 h 38"/>
                <a:gd name="T2" fmla="*/ 0 w 52"/>
                <a:gd name="T3" fmla="*/ 19 h 38"/>
                <a:gd name="T4" fmla="*/ 10 w 52"/>
                <a:gd name="T5" fmla="*/ 0 h 38"/>
                <a:gd name="T6" fmla="*/ 52 w 52"/>
                <a:gd name="T7" fmla="*/ 19 h 38"/>
                <a:gd name="T8" fmla="*/ 42 w 5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8">
                  <a:moveTo>
                    <a:pt x="42" y="38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52" y="19"/>
                  </a:lnTo>
                  <a:lnTo>
                    <a:pt x="42" y="38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96044BBC-1B57-449D-BA6E-7AE617F20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1965"/>
              <a:ext cx="38" cy="51"/>
            </a:xfrm>
            <a:custGeom>
              <a:avLst/>
              <a:gdLst>
                <a:gd name="T0" fmla="*/ 19 w 38"/>
                <a:gd name="T1" fmla="*/ 51 h 51"/>
                <a:gd name="T2" fmla="*/ 0 w 38"/>
                <a:gd name="T3" fmla="*/ 42 h 51"/>
                <a:gd name="T4" fmla="*/ 19 w 38"/>
                <a:gd name="T5" fmla="*/ 0 h 51"/>
                <a:gd name="T6" fmla="*/ 38 w 38"/>
                <a:gd name="T7" fmla="*/ 9 h 51"/>
                <a:gd name="T8" fmla="*/ 19 w 38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1">
                  <a:moveTo>
                    <a:pt x="19" y="51"/>
                  </a:moveTo>
                  <a:lnTo>
                    <a:pt x="0" y="42"/>
                  </a:lnTo>
                  <a:lnTo>
                    <a:pt x="19" y="0"/>
                  </a:lnTo>
                  <a:lnTo>
                    <a:pt x="38" y="9"/>
                  </a:lnTo>
                  <a:lnTo>
                    <a:pt x="19" y="5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08E6A73F-6681-4437-8621-779AF6144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962"/>
              <a:ext cx="36" cy="51"/>
            </a:xfrm>
            <a:custGeom>
              <a:avLst/>
              <a:gdLst>
                <a:gd name="T0" fmla="*/ 17 w 36"/>
                <a:gd name="T1" fmla="*/ 51 h 51"/>
                <a:gd name="T2" fmla="*/ 0 w 36"/>
                <a:gd name="T3" fmla="*/ 7 h 51"/>
                <a:gd name="T4" fmla="*/ 20 w 36"/>
                <a:gd name="T5" fmla="*/ 0 h 51"/>
                <a:gd name="T6" fmla="*/ 36 w 36"/>
                <a:gd name="T7" fmla="*/ 43 h 51"/>
                <a:gd name="T8" fmla="*/ 17 w 36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1">
                  <a:moveTo>
                    <a:pt x="17" y="51"/>
                  </a:moveTo>
                  <a:lnTo>
                    <a:pt x="0" y="7"/>
                  </a:lnTo>
                  <a:lnTo>
                    <a:pt x="20" y="0"/>
                  </a:lnTo>
                  <a:lnTo>
                    <a:pt x="36" y="4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F4533DE-DAF3-4FA4-ACAD-400B26E8C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101"/>
              <a:ext cx="51" cy="35"/>
            </a:xfrm>
            <a:custGeom>
              <a:avLst/>
              <a:gdLst>
                <a:gd name="T0" fmla="*/ 7 w 51"/>
                <a:gd name="T1" fmla="*/ 35 h 35"/>
                <a:gd name="T2" fmla="*/ 0 w 51"/>
                <a:gd name="T3" fmla="*/ 15 h 35"/>
                <a:gd name="T4" fmla="*/ 43 w 51"/>
                <a:gd name="T5" fmla="*/ 0 h 35"/>
                <a:gd name="T6" fmla="*/ 51 w 51"/>
                <a:gd name="T7" fmla="*/ 20 h 35"/>
                <a:gd name="T8" fmla="*/ 7 w 51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7" y="35"/>
                  </a:moveTo>
                  <a:lnTo>
                    <a:pt x="0" y="15"/>
                  </a:lnTo>
                  <a:lnTo>
                    <a:pt x="43" y="0"/>
                  </a:lnTo>
                  <a:lnTo>
                    <a:pt x="51" y="20"/>
                  </a:lnTo>
                  <a:lnTo>
                    <a:pt x="7" y="35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67BFC81B-EF8B-4A4A-A6C5-F46E8BCF6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" y="2304"/>
              <a:ext cx="45" cy="55"/>
            </a:xfrm>
            <a:custGeom>
              <a:avLst/>
              <a:gdLst>
                <a:gd name="T0" fmla="*/ 22 w 45"/>
                <a:gd name="T1" fmla="*/ 0 h 55"/>
                <a:gd name="T2" fmla="*/ 0 w 45"/>
                <a:gd name="T3" fmla="*/ 55 h 55"/>
                <a:gd name="T4" fmla="*/ 23 w 45"/>
                <a:gd name="T5" fmla="*/ 55 h 55"/>
                <a:gd name="T6" fmla="*/ 45 w 45"/>
                <a:gd name="T7" fmla="*/ 0 h 55"/>
                <a:gd name="T8" fmla="*/ 22 w 4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2" y="0"/>
                  </a:moveTo>
                  <a:lnTo>
                    <a:pt x="0" y="55"/>
                  </a:lnTo>
                  <a:lnTo>
                    <a:pt x="23" y="55"/>
                  </a:lnTo>
                  <a:lnTo>
                    <a:pt x="4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26886F5D-6B2B-4C3B-A36F-6E6DDAEF4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304"/>
              <a:ext cx="45" cy="55"/>
            </a:xfrm>
            <a:custGeom>
              <a:avLst/>
              <a:gdLst>
                <a:gd name="T0" fmla="*/ 23 w 45"/>
                <a:gd name="T1" fmla="*/ 0 h 55"/>
                <a:gd name="T2" fmla="*/ 0 w 45"/>
                <a:gd name="T3" fmla="*/ 55 h 55"/>
                <a:gd name="T4" fmla="*/ 23 w 45"/>
                <a:gd name="T5" fmla="*/ 55 h 55"/>
                <a:gd name="T6" fmla="*/ 45 w 45"/>
                <a:gd name="T7" fmla="*/ 0 h 55"/>
                <a:gd name="T8" fmla="*/ 23 w 4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3" y="0"/>
                  </a:moveTo>
                  <a:lnTo>
                    <a:pt x="0" y="55"/>
                  </a:lnTo>
                  <a:lnTo>
                    <a:pt x="23" y="55"/>
                  </a:lnTo>
                  <a:lnTo>
                    <a:pt x="45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D857C8EB-4351-4C92-994F-259DB3F67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" y="2304"/>
              <a:ext cx="46" cy="55"/>
            </a:xfrm>
            <a:custGeom>
              <a:avLst/>
              <a:gdLst>
                <a:gd name="T0" fmla="*/ 23 w 46"/>
                <a:gd name="T1" fmla="*/ 0 h 55"/>
                <a:gd name="T2" fmla="*/ 0 w 46"/>
                <a:gd name="T3" fmla="*/ 55 h 55"/>
                <a:gd name="T4" fmla="*/ 23 w 46"/>
                <a:gd name="T5" fmla="*/ 55 h 55"/>
                <a:gd name="T6" fmla="*/ 46 w 46"/>
                <a:gd name="T7" fmla="*/ 0 h 55"/>
                <a:gd name="T8" fmla="*/ 23 w 46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5">
                  <a:moveTo>
                    <a:pt x="23" y="0"/>
                  </a:moveTo>
                  <a:lnTo>
                    <a:pt x="0" y="55"/>
                  </a:lnTo>
                  <a:lnTo>
                    <a:pt x="23" y="55"/>
                  </a:lnTo>
                  <a:lnTo>
                    <a:pt x="46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12517DAB-7BD3-43D2-AA65-0414AA6CC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2304"/>
              <a:ext cx="45" cy="55"/>
            </a:xfrm>
            <a:custGeom>
              <a:avLst/>
              <a:gdLst>
                <a:gd name="T0" fmla="*/ 22 w 45"/>
                <a:gd name="T1" fmla="*/ 0 h 55"/>
                <a:gd name="T2" fmla="*/ 0 w 45"/>
                <a:gd name="T3" fmla="*/ 55 h 55"/>
                <a:gd name="T4" fmla="*/ 22 w 45"/>
                <a:gd name="T5" fmla="*/ 55 h 55"/>
                <a:gd name="T6" fmla="*/ 45 w 45"/>
                <a:gd name="T7" fmla="*/ 0 h 55"/>
                <a:gd name="T8" fmla="*/ 22 w 4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2" y="0"/>
                  </a:moveTo>
                  <a:lnTo>
                    <a:pt x="0" y="55"/>
                  </a:lnTo>
                  <a:lnTo>
                    <a:pt x="22" y="55"/>
                  </a:lnTo>
                  <a:lnTo>
                    <a:pt x="4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C089707E-E5F8-444E-9871-AABD69C85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2022"/>
              <a:ext cx="108" cy="102"/>
            </a:xfrm>
            <a:custGeom>
              <a:avLst/>
              <a:gdLst>
                <a:gd name="T0" fmla="*/ 16 w 108"/>
                <a:gd name="T1" fmla="*/ 102 h 102"/>
                <a:gd name="T2" fmla="*/ 16 w 108"/>
                <a:gd name="T3" fmla="*/ 102 h 102"/>
                <a:gd name="T4" fmla="*/ 27 w 108"/>
                <a:gd name="T5" fmla="*/ 96 h 102"/>
                <a:gd name="T6" fmla="*/ 38 w 108"/>
                <a:gd name="T7" fmla="*/ 93 h 102"/>
                <a:gd name="T8" fmla="*/ 50 w 108"/>
                <a:gd name="T9" fmla="*/ 91 h 102"/>
                <a:gd name="T10" fmla="*/ 63 w 108"/>
                <a:gd name="T11" fmla="*/ 90 h 102"/>
                <a:gd name="T12" fmla="*/ 63 w 108"/>
                <a:gd name="T13" fmla="*/ 90 h 102"/>
                <a:gd name="T14" fmla="*/ 76 w 108"/>
                <a:gd name="T15" fmla="*/ 91 h 102"/>
                <a:gd name="T16" fmla="*/ 89 w 108"/>
                <a:gd name="T17" fmla="*/ 94 h 102"/>
                <a:gd name="T18" fmla="*/ 89 w 108"/>
                <a:gd name="T19" fmla="*/ 94 h 102"/>
                <a:gd name="T20" fmla="*/ 88 w 108"/>
                <a:gd name="T21" fmla="*/ 81 h 102"/>
                <a:gd name="T22" fmla="*/ 88 w 108"/>
                <a:gd name="T23" fmla="*/ 81 h 102"/>
                <a:gd name="T24" fmla="*/ 89 w 108"/>
                <a:gd name="T25" fmla="*/ 72 h 102"/>
                <a:gd name="T26" fmla="*/ 90 w 108"/>
                <a:gd name="T27" fmla="*/ 65 h 102"/>
                <a:gd name="T28" fmla="*/ 91 w 108"/>
                <a:gd name="T29" fmla="*/ 57 h 102"/>
                <a:gd name="T30" fmla="*/ 93 w 108"/>
                <a:gd name="T31" fmla="*/ 49 h 102"/>
                <a:gd name="T32" fmla="*/ 96 w 108"/>
                <a:gd name="T33" fmla="*/ 42 h 102"/>
                <a:gd name="T34" fmla="*/ 100 w 108"/>
                <a:gd name="T35" fmla="*/ 35 h 102"/>
                <a:gd name="T36" fmla="*/ 108 w 108"/>
                <a:gd name="T37" fmla="*/ 22 h 102"/>
                <a:gd name="T38" fmla="*/ 108 w 108"/>
                <a:gd name="T39" fmla="*/ 22 h 102"/>
                <a:gd name="T40" fmla="*/ 104 w 108"/>
                <a:gd name="T41" fmla="*/ 17 h 102"/>
                <a:gd name="T42" fmla="*/ 99 w 108"/>
                <a:gd name="T43" fmla="*/ 12 h 102"/>
                <a:gd name="T44" fmla="*/ 92 w 108"/>
                <a:gd name="T45" fmla="*/ 8 h 102"/>
                <a:gd name="T46" fmla="*/ 86 w 108"/>
                <a:gd name="T47" fmla="*/ 5 h 102"/>
                <a:gd name="T48" fmla="*/ 86 w 108"/>
                <a:gd name="T49" fmla="*/ 5 h 102"/>
                <a:gd name="T50" fmla="*/ 81 w 108"/>
                <a:gd name="T51" fmla="*/ 3 h 102"/>
                <a:gd name="T52" fmla="*/ 74 w 108"/>
                <a:gd name="T53" fmla="*/ 1 h 102"/>
                <a:gd name="T54" fmla="*/ 63 w 108"/>
                <a:gd name="T55" fmla="*/ 0 h 102"/>
                <a:gd name="T56" fmla="*/ 51 w 108"/>
                <a:gd name="T57" fmla="*/ 1 h 102"/>
                <a:gd name="T58" fmla="*/ 39 w 108"/>
                <a:gd name="T59" fmla="*/ 4 h 102"/>
                <a:gd name="T60" fmla="*/ 29 w 108"/>
                <a:gd name="T61" fmla="*/ 9 h 102"/>
                <a:gd name="T62" fmla="*/ 19 w 108"/>
                <a:gd name="T63" fmla="*/ 16 h 102"/>
                <a:gd name="T64" fmla="*/ 12 w 108"/>
                <a:gd name="T65" fmla="*/ 25 h 102"/>
                <a:gd name="T66" fmla="*/ 8 w 108"/>
                <a:gd name="T67" fmla="*/ 30 h 102"/>
                <a:gd name="T68" fmla="*/ 6 w 108"/>
                <a:gd name="T69" fmla="*/ 36 h 102"/>
                <a:gd name="T70" fmla="*/ 6 w 108"/>
                <a:gd name="T71" fmla="*/ 36 h 102"/>
                <a:gd name="T72" fmla="*/ 2 w 108"/>
                <a:gd name="T73" fmla="*/ 44 h 102"/>
                <a:gd name="T74" fmla="*/ 0 w 108"/>
                <a:gd name="T75" fmla="*/ 53 h 102"/>
                <a:gd name="T76" fmla="*/ 0 w 108"/>
                <a:gd name="T77" fmla="*/ 62 h 102"/>
                <a:gd name="T78" fmla="*/ 0 w 108"/>
                <a:gd name="T79" fmla="*/ 71 h 102"/>
                <a:gd name="T80" fmla="*/ 2 w 108"/>
                <a:gd name="T81" fmla="*/ 80 h 102"/>
                <a:gd name="T82" fmla="*/ 7 w 108"/>
                <a:gd name="T83" fmla="*/ 87 h 102"/>
                <a:gd name="T84" fmla="*/ 11 w 108"/>
                <a:gd name="T85" fmla="*/ 95 h 102"/>
                <a:gd name="T86" fmla="*/ 16 w 108"/>
                <a:gd name="T87" fmla="*/ 102 h 102"/>
                <a:gd name="T88" fmla="*/ 16 w 108"/>
                <a:gd name="T8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" h="102">
                  <a:moveTo>
                    <a:pt x="16" y="102"/>
                  </a:moveTo>
                  <a:lnTo>
                    <a:pt x="16" y="102"/>
                  </a:lnTo>
                  <a:lnTo>
                    <a:pt x="27" y="96"/>
                  </a:lnTo>
                  <a:lnTo>
                    <a:pt x="38" y="93"/>
                  </a:lnTo>
                  <a:lnTo>
                    <a:pt x="50" y="91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76" y="91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9" y="72"/>
                  </a:lnTo>
                  <a:lnTo>
                    <a:pt x="90" y="65"/>
                  </a:lnTo>
                  <a:lnTo>
                    <a:pt x="91" y="57"/>
                  </a:lnTo>
                  <a:lnTo>
                    <a:pt x="93" y="49"/>
                  </a:lnTo>
                  <a:lnTo>
                    <a:pt x="96" y="42"/>
                  </a:lnTo>
                  <a:lnTo>
                    <a:pt x="100" y="35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4" y="17"/>
                  </a:lnTo>
                  <a:lnTo>
                    <a:pt x="99" y="12"/>
                  </a:lnTo>
                  <a:lnTo>
                    <a:pt x="92" y="8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1" y="3"/>
                  </a:lnTo>
                  <a:lnTo>
                    <a:pt x="74" y="1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9" y="4"/>
                  </a:lnTo>
                  <a:lnTo>
                    <a:pt x="29" y="9"/>
                  </a:lnTo>
                  <a:lnTo>
                    <a:pt x="19" y="16"/>
                  </a:lnTo>
                  <a:lnTo>
                    <a:pt x="12" y="25"/>
                  </a:lnTo>
                  <a:lnTo>
                    <a:pt x="8" y="30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0" y="53"/>
                  </a:lnTo>
                  <a:lnTo>
                    <a:pt x="0" y="62"/>
                  </a:lnTo>
                  <a:lnTo>
                    <a:pt x="0" y="71"/>
                  </a:lnTo>
                  <a:lnTo>
                    <a:pt x="2" y="80"/>
                  </a:lnTo>
                  <a:lnTo>
                    <a:pt x="7" y="87"/>
                  </a:lnTo>
                  <a:lnTo>
                    <a:pt x="11" y="95"/>
                  </a:lnTo>
                  <a:lnTo>
                    <a:pt x="16" y="102"/>
                  </a:lnTo>
                  <a:lnTo>
                    <a:pt x="16" y="102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702AFC6-AF56-4D54-ACBF-8501F8553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2238"/>
              <a:ext cx="44" cy="54"/>
            </a:xfrm>
            <a:custGeom>
              <a:avLst/>
              <a:gdLst>
                <a:gd name="T0" fmla="*/ 22 w 44"/>
                <a:gd name="T1" fmla="*/ 0 h 54"/>
                <a:gd name="T2" fmla="*/ 0 w 44"/>
                <a:gd name="T3" fmla="*/ 54 h 54"/>
                <a:gd name="T4" fmla="*/ 22 w 44"/>
                <a:gd name="T5" fmla="*/ 54 h 54"/>
                <a:gd name="T6" fmla="*/ 44 w 44"/>
                <a:gd name="T7" fmla="*/ 0 h 54"/>
                <a:gd name="T8" fmla="*/ 22 w 44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4">
                  <a:moveTo>
                    <a:pt x="22" y="0"/>
                  </a:moveTo>
                  <a:lnTo>
                    <a:pt x="0" y="54"/>
                  </a:lnTo>
                  <a:lnTo>
                    <a:pt x="22" y="54"/>
                  </a:lnTo>
                  <a:lnTo>
                    <a:pt x="44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B6596F69-0DEE-4DD0-8B3A-4C3E40F44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2238"/>
              <a:ext cx="45" cy="54"/>
            </a:xfrm>
            <a:custGeom>
              <a:avLst/>
              <a:gdLst>
                <a:gd name="T0" fmla="*/ 22 w 45"/>
                <a:gd name="T1" fmla="*/ 0 h 54"/>
                <a:gd name="T2" fmla="*/ 0 w 45"/>
                <a:gd name="T3" fmla="*/ 54 h 54"/>
                <a:gd name="T4" fmla="*/ 23 w 45"/>
                <a:gd name="T5" fmla="*/ 54 h 54"/>
                <a:gd name="T6" fmla="*/ 45 w 45"/>
                <a:gd name="T7" fmla="*/ 0 h 54"/>
                <a:gd name="T8" fmla="*/ 22 w 4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4">
                  <a:moveTo>
                    <a:pt x="22" y="0"/>
                  </a:moveTo>
                  <a:lnTo>
                    <a:pt x="0" y="54"/>
                  </a:lnTo>
                  <a:lnTo>
                    <a:pt x="23" y="54"/>
                  </a:lnTo>
                  <a:lnTo>
                    <a:pt x="4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028B5E14-2FDE-4FCF-8115-D88B8A899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2238"/>
              <a:ext cx="44" cy="54"/>
            </a:xfrm>
            <a:custGeom>
              <a:avLst/>
              <a:gdLst>
                <a:gd name="T0" fmla="*/ 22 w 44"/>
                <a:gd name="T1" fmla="*/ 0 h 54"/>
                <a:gd name="T2" fmla="*/ 0 w 44"/>
                <a:gd name="T3" fmla="*/ 54 h 54"/>
                <a:gd name="T4" fmla="*/ 22 w 44"/>
                <a:gd name="T5" fmla="*/ 54 h 54"/>
                <a:gd name="T6" fmla="*/ 44 w 44"/>
                <a:gd name="T7" fmla="*/ 0 h 54"/>
                <a:gd name="T8" fmla="*/ 22 w 44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4">
                  <a:moveTo>
                    <a:pt x="22" y="0"/>
                  </a:moveTo>
                  <a:lnTo>
                    <a:pt x="0" y="54"/>
                  </a:lnTo>
                  <a:lnTo>
                    <a:pt x="22" y="54"/>
                  </a:lnTo>
                  <a:lnTo>
                    <a:pt x="44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69728803-8771-45CF-870A-227B1D967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2238"/>
              <a:ext cx="46" cy="54"/>
            </a:xfrm>
            <a:custGeom>
              <a:avLst/>
              <a:gdLst>
                <a:gd name="T0" fmla="*/ 22 w 46"/>
                <a:gd name="T1" fmla="*/ 0 h 54"/>
                <a:gd name="T2" fmla="*/ 0 w 46"/>
                <a:gd name="T3" fmla="*/ 54 h 54"/>
                <a:gd name="T4" fmla="*/ 24 w 46"/>
                <a:gd name="T5" fmla="*/ 54 h 54"/>
                <a:gd name="T6" fmla="*/ 46 w 46"/>
                <a:gd name="T7" fmla="*/ 0 h 54"/>
                <a:gd name="T8" fmla="*/ 22 w 46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4">
                  <a:moveTo>
                    <a:pt x="22" y="0"/>
                  </a:moveTo>
                  <a:lnTo>
                    <a:pt x="0" y="54"/>
                  </a:lnTo>
                  <a:lnTo>
                    <a:pt x="24" y="54"/>
                  </a:lnTo>
                  <a:lnTo>
                    <a:pt x="46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2D1AA207-88D6-4C5E-BA3D-E30C59CF5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" y="2238"/>
              <a:ext cx="45" cy="54"/>
            </a:xfrm>
            <a:custGeom>
              <a:avLst/>
              <a:gdLst>
                <a:gd name="T0" fmla="*/ 23 w 45"/>
                <a:gd name="T1" fmla="*/ 0 h 54"/>
                <a:gd name="T2" fmla="*/ 0 w 45"/>
                <a:gd name="T3" fmla="*/ 54 h 54"/>
                <a:gd name="T4" fmla="*/ 23 w 45"/>
                <a:gd name="T5" fmla="*/ 54 h 54"/>
                <a:gd name="T6" fmla="*/ 45 w 45"/>
                <a:gd name="T7" fmla="*/ 0 h 54"/>
                <a:gd name="T8" fmla="*/ 23 w 4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4">
                  <a:moveTo>
                    <a:pt x="23" y="0"/>
                  </a:moveTo>
                  <a:lnTo>
                    <a:pt x="0" y="54"/>
                  </a:lnTo>
                  <a:lnTo>
                    <a:pt x="23" y="54"/>
                  </a:lnTo>
                  <a:lnTo>
                    <a:pt x="45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7618335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GB" dirty="0" smtClean="0"/>
              <a:t>Hannover R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 smtClean="0"/>
              <a:t>Oficina</a:t>
            </a:r>
            <a:r>
              <a:rPr lang="en-GB" dirty="0" smtClean="0"/>
              <a:t> de </a:t>
            </a:r>
            <a:r>
              <a:rPr lang="en-GB" dirty="0" err="1" smtClean="0"/>
              <a:t>Representación</a:t>
            </a:r>
            <a:r>
              <a:rPr lang="en-GB" dirty="0" smtClean="0"/>
              <a:t> </a:t>
            </a:r>
            <a:r>
              <a:rPr lang="en-GB" dirty="0" err="1" smtClean="0"/>
              <a:t>en</a:t>
            </a:r>
            <a:r>
              <a:rPr lang="en-GB" dirty="0" smtClean="0"/>
              <a:t> México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b="1" dirty="0" smtClean="0"/>
              <a:t>Act. Bryan Urbano</a:t>
            </a:r>
          </a:p>
          <a:p>
            <a:r>
              <a:rPr lang="en-GB" sz="1200" i="1" dirty="0" err="1" smtClean="0"/>
              <a:t>Junio</a:t>
            </a:r>
            <a:r>
              <a:rPr lang="en-GB" sz="1200" i="1" dirty="0" smtClean="0"/>
              <a:t> del 2023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1086927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5">
            <a:extLst>
              <a:ext uri="{FF2B5EF4-FFF2-40B4-BE49-F238E27FC236}">
                <a16:creationId xmlns:a16="http://schemas.microsoft.com/office/drawing/2014/main" id="{E80A8887-DFB1-49E4-AD14-8D46C1B2CBCB}"/>
              </a:ext>
            </a:extLst>
          </p:cNvPr>
          <p:cNvSpPr txBox="1"/>
          <p:nvPr/>
        </p:nvSpPr>
        <p:spPr>
          <a:xfrm>
            <a:off x="3159247" y="4287273"/>
            <a:ext cx="58744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1578412" algn="ctr"/>
                <a:tab pos="3156824" algn="r"/>
              </a:tabLst>
            </a:pPr>
            <a:r>
              <a:rPr lang="es-MX" sz="1600" b="1" dirty="0" smtClean="0">
                <a:solidFill>
                  <a:schemeClr val="bg1"/>
                </a:solidFill>
                <a:latin typeface="Neue Haas Grotesk Text Pro" panose="020B0504020202020204" pitchFamily="34" charset="0"/>
                <a:ea typeface="Calibri" panose="020F0502020204030204" pitchFamily="34" charset="0"/>
              </a:rPr>
              <a:t>¡Muchas gracias por dejarnos ser parte de ustedes!</a:t>
            </a:r>
            <a:endParaRPr lang="es-MX" sz="1600" dirty="0">
              <a:solidFill>
                <a:schemeClr val="bg1"/>
              </a:solidFill>
              <a:latin typeface="Neue Haas Grotesk Text Pro" panose="020B0504020202020204" pitchFamily="34" charset="0"/>
              <a:ea typeface="Calibri" panose="020F05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871006" y="1319055"/>
            <a:ext cx="2450899" cy="1324404"/>
            <a:chOff x="1738603" y="4079087"/>
            <a:chExt cx="2581219" cy="1349649"/>
          </a:xfrm>
        </p:grpSpPr>
        <p:grpSp>
          <p:nvGrpSpPr>
            <p:cNvPr id="4" name="Group 3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6" name="Rectangle 5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  <a:t/>
                </a:r>
                <a:b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8" name="Straight Connector 7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" name="Straight Connector 8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735553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 smtClean="0"/>
              <a:t>1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5400" dirty="0" smtClean="0"/>
              <a:t>¿</a:t>
            </a:r>
            <a:r>
              <a:rPr lang="en-GB" sz="5400" dirty="0" err="1" smtClean="0"/>
              <a:t>Quiénes</a:t>
            </a:r>
            <a:r>
              <a:rPr lang="en-GB" sz="5400" dirty="0" smtClean="0"/>
              <a:t> </a:t>
            </a:r>
            <a:r>
              <a:rPr lang="en-GB" sz="5400" dirty="0" err="1" smtClean="0"/>
              <a:t>Somos</a:t>
            </a:r>
            <a:r>
              <a:rPr lang="en-GB" sz="5400" dirty="0" smtClean="0"/>
              <a:t>?</a:t>
            </a:r>
            <a:endParaRPr lang="en-GB" sz="5400" dirty="0"/>
          </a:p>
        </p:txBody>
      </p:sp>
    </p:spTree>
    <p:extLst>
      <p:ext uri="{BB962C8B-B14F-4D97-AF65-F5344CB8AC3E}">
        <p14:creationId xmlns:p14="http://schemas.microsoft.com/office/powerpoint/2010/main" val="5354078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 smtClean="0"/>
              <a:t>Presencia</a:t>
            </a:r>
            <a:r>
              <a:rPr lang="en-GB" sz="2800" dirty="0" smtClean="0"/>
              <a:t> Mundial</a:t>
            </a:r>
            <a:endParaRPr lang="en-GB" sz="28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452437" y="1045954"/>
            <a:ext cx="11287125" cy="4696703"/>
            <a:chOff x="353302" y="1375623"/>
            <a:chExt cx="11287125" cy="469670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/>
            <a:srcRect l="4221" b="3735"/>
            <a:stretch/>
          </p:blipFill>
          <p:spPr>
            <a:xfrm>
              <a:off x="2707689" y="1375623"/>
              <a:ext cx="6578353" cy="3383003"/>
            </a:xfrm>
            <a:prstGeom prst="round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7275"/>
            <a:stretch/>
          </p:blipFill>
          <p:spPr>
            <a:xfrm>
              <a:off x="353302" y="1978317"/>
              <a:ext cx="11287125" cy="3743695"/>
            </a:xfrm>
            <a:prstGeom prst="rect">
              <a:avLst/>
            </a:prstGeom>
            <a:noFill/>
          </p:spPr>
        </p:pic>
        <p:sp>
          <p:nvSpPr>
            <p:cNvPr id="16" name="Rectangle 15"/>
            <p:cNvSpPr/>
            <p:nvPr/>
          </p:nvSpPr>
          <p:spPr bwMode="gray">
            <a:xfrm>
              <a:off x="9392575" y="3737500"/>
              <a:ext cx="1154097" cy="106966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3258105" y="4618590"/>
              <a:ext cx="1349354" cy="123179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grpSp>
          <p:nvGrpSpPr>
            <p:cNvPr id="8" name="Group 4">
              <a:extLst>
                <a:ext uri="{FF2B5EF4-FFF2-40B4-BE49-F238E27FC236}">
                  <a16:creationId xmlns:a16="http://schemas.microsoft.com/office/drawing/2014/main" id="{83A7BA53-EAA8-4996-A3E4-65F2855A94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337371" y="4758626"/>
              <a:ext cx="1130532" cy="906782"/>
              <a:chOff x="3601" y="1968"/>
              <a:chExt cx="480" cy="385"/>
            </a:xfrm>
          </p:grpSpPr>
          <p:sp>
            <p:nvSpPr>
              <p:cNvPr id="9" name="Freeform 5">
                <a:extLst>
                  <a:ext uri="{FF2B5EF4-FFF2-40B4-BE49-F238E27FC236}">
                    <a16:creationId xmlns:a16="http://schemas.microsoft.com/office/drawing/2014/main" id="{12FAE0EC-C983-4CA7-B92F-76ABB5F81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1968"/>
                <a:ext cx="480" cy="345"/>
              </a:xfrm>
              <a:custGeom>
                <a:avLst/>
                <a:gdLst>
                  <a:gd name="T0" fmla="*/ 480 w 480"/>
                  <a:gd name="T1" fmla="*/ 0 h 345"/>
                  <a:gd name="T2" fmla="*/ 358 w 480"/>
                  <a:gd name="T3" fmla="*/ 5 h 345"/>
                  <a:gd name="T4" fmla="*/ 400 w 480"/>
                  <a:gd name="T5" fmla="*/ 46 h 345"/>
                  <a:gd name="T6" fmla="*/ 255 w 480"/>
                  <a:gd name="T7" fmla="*/ 191 h 345"/>
                  <a:gd name="T8" fmla="*/ 187 w 480"/>
                  <a:gd name="T9" fmla="*/ 123 h 345"/>
                  <a:gd name="T10" fmla="*/ 0 w 480"/>
                  <a:gd name="T11" fmla="*/ 310 h 345"/>
                  <a:gd name="T12" fmla="*/ 35 w 480"/>
                  <a:gd name="T13" fmla="*/ 345 h 345"/>
                  <a:gd name="T14" fmla="*/ 187 w 480"/>
                  <a:gd name="T15" fmla="*/ 193 h 345"/>
                  <a:gd name="T16" fmla="*/ 255 w 480"/>
                  <a:gd name="T17" fmla="*/ 259 h 345"/>
                  <a:gd name="T18" fmla="*/ 433 w 480"/>
                  <a:gd name="T19" fmla="*/ 80 h 345"/>
                  <a:gd name="T20" fmla="*/ 475 w 480"/>
                  <a:gd name="T21" fmla="*/ 121 h 345"/>
                  <a:gd name="T22" fmla="*/ 480 w 480"/>
                  <a:gd name="T23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345">
                    <a:moveTo>
                      <a:pt x="480" y="0"/>
                    </a:moveTo>
                    <a:lnTo>
                      <a:pt x="358" y="5"/>
                    </a:lnTo>
                    <a:lnTo>
                      <a:pt x="400" y="46"/>
                    </a:lnTo>
                    <a:lnTo>
                      <a:pt x="255" y="191"/>
                    </a:lnTo>
                    <a:lnTo>
                      <a:pt x="187" y="123"/>
                    </a:lnTo>
                    <a:lnTo>
                      <a:pt x="0" y="310"/>
                    </a:lnTo>
                    <a:lnTo>
                      <a:pt x="35" y="345"/>
                    </a:lnTo>
                    <a:lnTo>
                      <a:pt x="187" y="193"/>
                    </a:lnTo>
                    <a:lnTo>
                      <a:pt x="255" y="259"/>
                    </a:lnTo>
                    <a:lnTo>
                      <a:pt x="433" y="80"/>
                    </a:lnTo>
                    <a:lnTo>
                      <a:pt x="475" y="121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F49B462C-C27B-4E20-850A-E1EACDA2F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2123"/>
                <a:ext cx="365" cy="230"/>
              </a:xfrm>
              <a:custGeom>
                <a:avLst/>
                <a:gdLst>
                  <a:gd name="T0" fmla="*/ 121 w 365"/>
                  <a:gd name="T1" fmla="*/ 110 h 230"/>
                  <a:gd name="T2" fmla="*/ 0 w 365"/>
                  <a:gd name="T3" fmla="*/ 230 h 230"/>
                  <a:gd name="T4" fmla="*/ 365 w 365"/>
                  <a:gd name="T5" fmla="*/ 230 h 230"/>
                  <a:gd name="T6" fmla="*/ 365 w 365"/>
                  <a:gd name="T7" fmla="*/ 0 h 230"/>
                  <a:gd name="T8" fmla="*/ 189 w 365"/>
                  <a:gd name="T9" fmla="*/ 176 h 230"/>
                  <a:gd name="T10" fmla="*/ 121 w 365"/>
                  <a:gd name="T11" fmla="*/ 11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5" h="230">
                    <a:moveTo>
                      <a:pt x="121" y="110"/>
                    </a:moveTo>
                    <a:lnTo>
                      <a:pt x="0" y="230"/>
                    </a:lnTo>
                    <a:lnTo>
                      <a:pt x="365" y="230"/>
                    </a:lnTo>
                    <a:lnTo>
                      <a:pt x="365" y="0"/>
                    </a:lnTo>
                    <a:lnTo>
                      <a:pt x="189" y="176"/>
                    </a:lnTo>
                    <a:lnTo>
                      <a:pt x="121" y="110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4E4C848-66B0-49D4-8C9E-A176895BF3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62438" y="3801632"/>
              <a:ext cx="1000796" cy="956994"/>
            </a:xfrm>
            <a:custGeom>
              <a:avLst/>
              <a:gdLst>
                <a:gd name="T0" fmla="*/ 147 w 480"/>
                <a:gd name="T1" fmla="*/ 18 h 477"/>
                <a:gd name="T2" fmla="*/ 41 w 480"/>
                <a:gd name="T3" fmla="*/ 105 h 477"/>
                <a:gd name="T4" fmla="*/ 0 w 480"/>
                <a:gd name="T5" fmla="*/ 238 h 477"/>
                <a:gd name="T6" fmla="*/ 29 w 480"/>
                <a:gd name="T7" fmla="*/ 352 h 477"/>
                <a:gd name="T8" fmla="*/ 126 w 480"/>
                <a:gd name="T9" fmla="*/ 449 h 477"/>
                <a:gd name="T10" fmla="*/ 240 w 480"/>
                <a:gd name="T11" fmla="*/ 477 h 477"/>
                <a:gd name="T12" fmla="*/ 373 w 480"/>
                <a:gd name="T13" fmla="*/ 436 h 477"/>
                <a:gd name="T14" fmla="*/ 461 w 480"/>
                <a:gd name="T15" fmla="*/ 331 h 477"/>
                <a:gd name="T16" fmla="*/ 478 w 480"/>
                <a:gd name="T17" fmla="*/ 214 h 477"/>
                <a:gd name="T18" fmla="*/ 425 w 480"/>
                <a:gd name="T19" fmla="*/ 86 h 477"/>
                <a:gd name="T20" fmla="*/ 311 w 480"/>
                <a:gd name="T21" fmla="*/ 11 h 477"/>
                <a:gd name="T22" fmla="*/ 229 w 480"/>
                <a:gd name="T23" fmla="*/ 111 h 477"/>
                <a:gd name="T24" fmla="*/ 164 w 480"/>
                <a:gd name="T25" fmla="*/ 86 h 477"/>
                <a:gd name="T26" fmla="*/ 219 w 480"/>
                <a:gd name="T27" fmla="*/ 25 h 477"/>
                <a:gd name="T28" fmla="*/ 133 w 480"/>
                <a:gd name="T29" fmla="*/ 227 h 477"/>
                <a:gd name="T30" fmla="*/ 169 w 480"/>
                <a:gd name="T31" fmla="*/ 126 h 477"/>
                <a:gd name="T32" fmla="*/ 229 w 480"/>
                <a:gd name="T33" fmla="*/ 344 h 477"/>
                <a:gd name="T34" fmla="*/ 149 w 480"/>
                <a:gd name="T35" fmla="*/ 354 h 477"/>
                <a:gd name="T36" fmla="*/ 229 w 480"/>
                <a:gd name="T37" fmla="*/ 365 h 477"/>
                <a:gd name="T38" fmla="*/ 188 w 480"/>
                <a:gd name="T39" fmla="*/ 429 h 477"/>
                <a:gd name="T40" fmla="*/ 174 w 480"/>
                <a:gd name="T41" fmla="*/ 371 h 477"/>
                <a:gd name="T42" fmla="*/ 251 w 480"/>
                <a:gd name="T43" fmla="*/ 365 h 477"/>
                <a:gd name="T44" fmla="*/ 316 w 480"/>
                <a:gd name="T45" fmla="*/ 390 h 477"/>
                <a:gd name="T46" fmla="*/ 261 w 480"/>
                <a:gd name="T47" fmla="*/ 452 h 477"/>
                <a:gd name="T48" fmla="*/ 347 w 480"/>
                <a:gd name="T49" fmla="*/ 249 h 477"/>
                <a:gd name="T50" fmla="*/ 311 w 480"/>
                <a:gd name="T51" fmla="*/ 350 h 477"/>
                <a:gd name="T52" fmla="*/ 251 w 480"/>
                <a:gd name="T53" fmla="*/ 132 h 477"/>
                <a:gd name="T54" fmla="*/ 330 w 480"/>
                <a:gd name="T55" fmla="*/ 122 h 477"/>
                <a:gd name="T56" fmla="*/ 251 w 480"/>
                <a:gd name="T57" fmla="*/ 111 h 477"/>
                <a:gd name="T58" fmla="*/ 291 w 480"/>
                <a:gd name="T59" fmla="*/ 47 h 477"/>
                <a:gd name="T60" fmla="*/ 306 w 480"/>
                <a:gd name="T61" fmla="*/ 105 h 477"/>
                <a:gd name="T62" fmla="*/ 303 w 480"/>
                <a:gd name="T63" fmla="*/ 29 h 477"/>
                <a:gd name="T64" fmla="*/ 371 w 480"/>
                <a:gd name="T65" fmla="*/ 64 h 477"/>
                <a:gd name="T66" fmla="*/ 344 w 480"/>
                <a:gd name="T67" fmla="*/ 97 h 477"/>
                <a:gd name="T68" fmla="*/ 135 w 480"/>
                <a:gd name="T69" fmla="*/ 97 h 477"/>
                <a:gd name="T70" fmla="*/ 109 w 480"/>
                <a:gd name="T71" fmla="*/ 64 h 477"/>
                <a:gd name="T72" fmla="*/ 177 w 480"/>
                <a:gd name="T73" fmla="*/ 29 h 477"/>
                <a:gd name="T74" fmla="*/ 135 w 480"/>
                <a:gd name="T75" fmla="*/ 97 h 477"/>
                <a:gd name="T76" fmla="*/ 112 w 480"/>
                <a:gd name="T77" fmla="*/ 227 h 477"/>
                <a:gd name="T78" fmla="*/ 37 w 480"/>
                <a:gd name="T79" fmla="*/ 157 h 477"/>
                <a:gd name="T80" fmla="*/ 87 w 480"/>
                <a:gd name="T81" fmla="*/ 102 h 477"/>
                <a:gd name="T82" fmla="*/ 112 w 480"/>
                <a:gd name="T83" fmla="*/ 249 h 477"/>
                <a:gd name="T84" fmla="*/ 114 w 480"/>
                <a:gd name="T85" fmla="*/ 363 h 477"/>
                <a:gd name="T86" fmla="*/ 53 w 480"/>
                <a:gd name="T87" fmla="*/ 351 h 477"/>
                <a:gd name="T88" fmla="*/ 21 w 480"/>
                <a:gd name="T89" fmla="*/ 249 h 477"/>
                <a:gd name="T90" fmla="*/ 165 w 480"/>
                <a:gd name="T91" fmla="*/ 433 h 477"/>
                <a:gd name="T92" fmla="*/ 129 w 480"/>
                <a:gd name="T93" fmla="*/ 426 h 477"/>
                <a:gd name="T94" fmla="*/ 111 w 480"/>
                <a:gd name="T95" fmla="*/ 386 h 477"/>
                <a:gd name="T96" fmla="*/ 391 w 480"/>
                <a:gd name="T97" fmla="*/ 395 h 477"/>
                <a:gd name="T98" fmla="*/ 339 w 480"/>
                <a:gd name="T99" fmla="*/ 432 h 477"/>
                <a:gd name="T100" fmla="*/ 326 w 480"/>
                <a:gd name="T101" fmla="*/ 417 h 477"/>
                <a:gd name="T102" fmla="*/ 357 w 480"/>
                <a:gd name="T103" fmla="*/ 334 h 477"/>
                <a:gd name="T104" fmla="*/ 457 w 480"/>
                <a:gd name="T105" fmla="*/ 267 h 477"/>
                <a:gd name="T106" fmla="*/ 417 w 480"/>
                <a:gd name="T107" fmla="*/ 365 h 477"/>
                <a:gd name="T108" fmla="*/ 351 w 480"/>
                <a:gd name="T109" fmla="*/ 358 h 477"/>
                <a:gd name="T110" fmla="*/ 357 w 480"/>
                <a:gd name="T111" fmla="*/ 142 h 477"/>
                <a:gd name="T112" fmla="*/ 406 w 480"/>
                <a:gd name="T113" fmla="*/ 97 h 477"/>
                <a:gd name="T114" fmla="*/ 448 w 480"/>
                <a:gd name="T115" fmla="*/ 17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477">
                  <a:moveTo>
                    <a:pt x="240" y="0"/>
                  </a:moveTo>
                  <a:lnTo>
                    <a:pt x="240" y="0"/>
                  </a:lnTo>
                  <a:lnTo>
                    <a:pt x="216" y="1"/>
                  </a:lnTo>
                  <a:lnTo>
                    <a:pt x="191" y="4"/>
                  </a:lnTo>
                  <a:lnTo>
                    <a:pt x="168" y="11"/>
                  </a:lnTo>
                  <a:lnTo>
                    <a:pt x="147" y="18"/>
                  </a:lnTo>
                  <a:lnTo>
                    <a:pt x="126" y="28"/>
                  </a:lnTo>
                  <a:lnTo>
                    <a:pt x="106" y="40"/>
                  </a:lnTo>
                  <a:lnTo>
                    <a:pt x="88" y="54"/>
                  </a:lnTo>
                  <a:lnTo>
                    <a:pt x="71" y="69"/>
                  </a:lnTo>
                  <a:lnTo>
                    <a:pt x="55" y="86"/>
                  </a:lnTo>
                  <a:lnTo>
                    <a:pt x="41" y="105"/>
                  </a:lnTo>
                  <a:lnTo>
                    <a:pt x="29" y="124"/>
                  </a:lnTo>
                  <a:lnTo>
                    <a:pt x="19" y="145"/>
                  </a:lnTo>
                  <a:lnTo>
                    <a:pt x="11" y="167"/>
                  </a:lnTo>
                  <a:lnTo>
                    <a:pt x="5" y="191"/>
                  </a:lnTo>
                  <a:lnTo>
                    <a:pt x="1" y="214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1" y="262"/>
                  </a:lnTo>
                  <a:lnTo>
                    <a:pt x="5" y="286"/>
                  </a:lnTo>
                  <a:lnTo>
                    <a:pt x="11" y="310"/>
                  </a:lnTo>
                  <a:lnTo>
                    <a:pt x="19" y="331"/>
                  </a:lnTo>
                  <a:lnTo>
                    <a:pt x="29" y="352"/>
                  </a:lnTo>
                  <a:lnTo>
                    <a:pt x="41" y="372"/>
                  </a:lnTo>
                  <a:lnTo>
                    <a:pt x="55" y="390"/>
                  </a:lnTo>
                  <a:lnTo>
                    <a:pt x="71" y="408"/>
                  </a:lnTo>
                  <a:lnTo>
                    <a:pt x="88" y="422"/>
                  </a:lnTo>
                  <a:lnTo>
                    <a:pt x="106" y="436"/>
                  </a:lnTo>
                  <a:lnTo>
                    <a:pt x="126" y="449"/>
                  </a:lnTo>
                  <a:lnTo>
                    <a:pt x="147" y="458"/>
                  </a:lnTo>
                  <a:lnTo>
                    <a:pt x="168" y="466"/>
                  </a:lnTo>
                  <a:lnTo>
                    <a:pt x="191" y="472"/>
                  </a:lnTo>
                  <a:lnTo>
                    <a:pt x="216" y="476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64" y="476"/>
                  </a:lnTo>
                  <a:lnTo>
                    <a:pt x="288" y="472"/>
                  </a:lnTo>
                  <a:lnTo>
                    <a:pt x="311" y="466"/>
                  </a:lnTo>
                  <a:lnTo>
                    <a:pt x="333" y="458"/>
                  </a:lnTo>
                  <a:lnTo>
                    <a:pt x="354" y="449"/>
                  </a:lnTo>
                  <a:lnTo>
                    <a:pt x="373" y="436"/>
                  </a:lnTo>
                  <a:lnTo>
                    <a:pt x="392" y="422"/>
                  </a:lnTo>
                  <a:lnTo>
                    <a:pt x="409" y="408"/>
                  </a:lnTo>
                  <a:lnTo>
                    <a:pt x="425" y="390"/>
                  </a:lnTo>
                  <a:lnTo>
                    <a:pt x="439" y="372"/>
                  </a:lnTo>
                  <a:lnTo>
                    <a:pt x="450" y="352"/>
                  </a:lnTo>
                  <a:lnTo>
                    <a:pt x="461" y="331"/>
                  </a:lnTo>
                  <a:lnTo>
                    <a:pt x="468" y="310"/>
                  </a:lnTo>
                  <a:lnTo>
                    <a:pt x="475" y="286"/>
                  </a:lnTo>
                  <a:lnTo>
                    <a:pt x="478" y="262"/>
                  </a:lnTo>
                  <a:lnTo>
                    <a:pt x="480" y="238"/>
                  </a:lnTo>
                  <a:lnTo>
                    <a:pt x="480" y="238"/>
                  </a:lnTo>
                  <a:lnTo>
                    <a:pt x="478" y="214"/>
                  </a:lnTo>
                  <a:lnTo>
                    <a:pt x="475" y="191"/>
                  </a:lnTo>
                  <a:lnTo>
                    <a:pt x="468" y="167"/>
                  </a:lnTo>
                  <a:lnTo>
                    <a:pt x="461" y="145"/>
                  </a:lnTo>
                  <a:lnTo>
                    <a:pt x="450" y="124"/>
                  </a:lnTo>
                  <a:lnTo>
                    <a:pt x="439" y="105"/>
                  </a:lnTo>
                  <a:lnTo>
                    <a:pt x="425" y="86"/>
                  </a:lnTo>
                  <a:lnTo>
                    <a:pt x="409" y="69"/>
                  </a:lnTo>
                  <a:lnTo>
                    <a:pt x="392" y="54"/>
                  </a:lnTo>
                  <a:lnTo>
                    <a:pt x="373" y="40"/>
                  </a:lnTo>
                  <a:lnTo>
                    <a:pt x="354" y="28"/>
                  </a:lnTo>
                  <a:lnTo>
                    <a:pt x="333" y="18"/>
                  </a:lnTo>
                  <a:lnTo>
                    <a:pt x="311" y="11"/>
                  </a:lnTo>
                  <a:lnTo>
                    <a:pt x="288" y="4"/>
                  </a:lnTo>
                  <a:lnTo>
                    <a:pt x="264" y="1"/>
                  </a:lnTo>
                  <a:lnTo>
                    <a:pt x="240" y="0"/>
                  </a:lnTo>
                  <a:lnTo>
                    <a:pt x="240" y="0"/>
                  </a:lnTo>
                  <a:close/>
                  <a:moveTo>
                    <a:pt x="229" y="111"/>
                  </a:moveTo>
                  <a:lnTo>
                    <a:pt x="229" y="111"/>
                  </a:lnTo>
                  <a:lnTo>
                    <a:pt x="210" y="110"/>
                  </a:lnTo>
                  <a:lnTo>
                    <a:pt x="192" y="107"/>
                  </a:lnTo>
                  <a:lnTo>
                    <a:pt x="174" y="105"/>
                  </a:lnTo>
                  <a:lnTo>
                    <a:pt x="156" y="102"/>
                  </a:lnTo>
                  <a:lnTo>
                    <a:pt x="156" y="102"/>
                  </a:lnTo>
                  <a:lnTo>
                    <a:pt x="164" y="86"/>
                  </a:lnTo>
                  <a:lnTo>
                    <a:pt x="171" y="72"/>
                  </a:lnTo>
                  <a:lnTo>
                    <a:pt x="180" y="59"/>
                  </a:lnTo>
                  <a:lnTo>
                    <a:pt x="189" y="47"/>
                  </a:lnTo>
                  <a:lnTo>
                    <a:pt x="199" y="38"/>
                  </a:lnTo>
                  <a:lnTo>
                    <a:pt x="208" y="31"/>
                  </a:lnTo>
                  <a:lnTo>
                    <a:pt x="219" y="25"/>
                  </a:lnTo>
                  <a:lnTo>
                    <a:pt x="229" y="22"/>
                  </a:lnTo>
                  <a:lnTo>
                    <a:pt x="229" y="111"/>
                  </a:lnTo>
                  <a:close/>
                  <a:moveTo>
                    <a:pt x="229" y="132"/>
                  </a:moveTo>
                  <a:lnTo>
                    <a:pt x="229" y="227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4" y="199"/>
                  </a:lnTo>
                  <a:lnTo>
                    <a:pt x="137" y="173"/>
                  </a:lnTo>
                  <a:lnTo>
                    <a:pt x="143" y="146"/>
                  </a:lnTo>
                  <a:lnTo>
                    <a:pt x="150" y="122"/>
                  </a:lnTo>
                  <a:lnTo>
                    <a:pt x="150" y="122"/>
                  </a:lnTo>
                  <a:lnTo>
                    <a:pt x="169" y="126"/>
                  </a:lnTo>
                  <a:lnTo>
                    <a:pt x="188" y="128"/>
                  </a:lnTo>
                  <a:lnTo>
                    <a:pt x="208" y="131"/>
                  </a:lnTo>
                  <a:lnTo>
                    <a:pt x="229" y="132"/>
                  </a:lnTo>
                  <a:lnTo>
                    <a:pt x="229" y="132"/>
                  </a:lnTo>
                  <a:close/>
                  <a:moveTo>
                    <a:pt x="229" y="249"/>
                  </a:moveTo>
                  <a:lnTo>
                    <a:pt x="229" y="344"/>
                  </a:lnTo>
                  <a:lnTo>
                    <a:pt x="229" y="344"/>
                  </a:lnTo>
                  <a:lnTo>
                    <a:pt x="208" y="345"/>
                  </a:lnTo>
                  <a:lnTo>
                    <a:pt x="188" y="347"/>
                  </a:lnTo>
                  <a:lnTo>
                    <a:pt x="169" y="350"/>
                  </a:lnTo>
                  <a:lnTo>
                    <a:pt x="149" y="354"/>
                  </a:lnTo>
                  <a:lnTo>
                    <a:pt x="149" y="354"/>
                  </a:lnTo>
                  <a:lnTo>
                    <a:pt x="143" y="330"/>
                  </a:lnTo>
                  <a:lnTo>
                    <a:pt x="137" y="304"/>
                  </a:lnTo>
                  <a:lnTo>
                    <a:pt x="134" y="277"/>
                  </a:lnTo>
                  <a:lnTo>
                    <a:pt x="133" y="249"/>
                  </a:lnTo>
                  <a:lnTo>
                    <a:pt x="229" y="249"/>
                  </a:lnTo>
                  <a:close/>
                  <a:moveTo>
                    <a:pt x="229" y="365"/>
                  </a:moveTo>
                  <a:lnTo>
                    <a:pt x="229" y="455"/>
                  </a:lnTo>
                  <a:lnTo>
                    <a:pt x="229" y="455"/>
                  </a:lnTo>
                  <a:lnTo>
                    <a:pt x="219" y="452"/>
                  </a:lnTo>
                  <a:lnTo>
                    <a:pt x="208" y="445"/>
                  </a:lnTo>
                  <a:lnTo>
                    <a:pt x="198" y="438"/>
                  </a:lnTo>
                  <a:lnTo>
                    <a:pt x="188" y="429"/>
                  </a:lnTo>
                  <a:lnTo>
                    <a:pt x="180" y="417"/>
                  </a:lnTo>
                  <a:lnTo>
                    <a:pt x="171" y="404"/>
                  </a:lnTo>
                  <a:lnTo>
                    <a:pt x="164" y="390"/>
                  </a:lnTo>
                  <a:lnTo>
                    <a:pt x="156" y="374"/>
                  </a:lnTo>
                  <a:lnTo>
                    <a:pt x="156" y="374"/>
                  </a:lnTo>
                  <a:lnTo>
                    <a:pt x="174" y="371"/>
                  </a:lnTo>
                  <a:lnTo>
                    <a:pt x="192" y="367"/>
                  </a:lnTo>
                  <a:lnTo>
                    <a:pt x="210" y="366"/>
                  </a:lnTo>
                  <a:lnTo>
                    <a:pt x="229" y="365"/>
                  </a:lnTo>
                  <a:lnTo>
                    <a:pt x="229" y="365"/>
                  </a:lnTo>
                  <a:close/>
                  <a:moveTo>
                    <a:pt x="251" y="365"/>
                  </a:moveTo>
                  <a:lnTo>
                    <a:pt x="251" y="365"/>
                  </a:lnTo>
                  <a:lnTo>
                    <a:pt x="270" y="366"/>
                  </a:lnTo>
                  <a:lnTo>
                    <a:pt x="288" y="367"/>
                  </a:lnTo>
                  <a:lnTo>
                    <a:pt x="306" y="371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16" y="390"/>
                  </a:lnTo>
                  <a:lnTo>
                    <a:pt x="309" y="404"/>
                  </a:lnTo>
                  <a:lnTo>
                    <a:pt x="300" y="417"/>
                  </a:lnTo>
                  <a:lnTo>
                    <a:pt x="291" y="429"/>
                  </a:lnTo>
                  <a:lnTo>
                    <a:pt x="281" y="438"/>
                  </a:lnTo>
                  <a:lnTo>
                    <a:pt x="272" y="445"/>
                  </a:lnTo>
                  <a:lnTo>
                    <a:pt x="261" y="452"/>
                  </a:lnTo>
                  <a:lnTo>
                    <a:pt x="251" y="455"/>
                  </a:lnTo>
                  <a:lnTo>
                    <a:pt x="251" y="365"/>
                  </a:lnTo>
                  <a:close/>
                  <a:moveTo>
                    <a:pt x="251" y="344"/>
                  </a:moveTo>
                  <a:lnTo>
                    <a:pt x="251" y="249"/>
                  </a:lnTo>
                  <a:lnTo>
                    <a:pt x="347" y="249"/>
                  </a:lnTo>
                  <a:lnTo>
                    <a:pt x="347" y="249"/>
                  </a:lnTo>
                  <a:lnTo>
                    <a:pt x="345" y="277"/>
                  </a:lnTo>
                  <a:lnTo>
                    <a:pt x="341" y="304"/>
                  </a:lnTo>
                  <a:lnTo>
                    <a:pt x="336" y="330"/>
                  </a:lnTo>
                  <a:lnTo>
                    <a:pt x="330" y="354"/>
                  </a:lnTo>
                  <a:lnTo>
                    <a:pt x="330" y="354"/>
                  </a:lnTo>
                  <a:lnTo>
                    <a:pt x="311" y="350"/>
                  </a:lnTo>
                  <a:lnTo>
                    <a:pt x="291" y="347"/>
                  </a:lnTo>
                  <a:lnTo>
                    <a:pt x="271" y="345"/>
                  </a:lnTo>
                  <a:lnTo>
                    <a:pt x="251" y="344"/>
                  </a:lnTo>
                  <a:lnTo>
                    <a:pt x="251" y="344"/>
                  </a:lnTo>
                  <a:close/>
                  <a:moveTo>
                    <a:pt x="251" y="227"/>
                  </a:moveTo>
                  <a:lnTo>
                    <a:pt x="251" y="132"/>
                  </a:lnTo>
                  <a:lnTo>
                    <a:pt x="251" y="132"/>
                  </a:lnTo>
                  <a:lnTo>
                    <a:pt x="271" y="131"/>
                  </a:lnTo>
                  <a:lnTo>
                    <a:pt x="291" y="128"/>
                  </a:lnTo>
                  <a:lnTo>
                    <a:pt x="311" y="126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6" y="146"/>
                  </a:lnTo>
                  <a:lnTo>
                    <a:pt x="341" y="173"/>
                  </a:lnTo>
                  <a:lnTo>
                    <a:pt x="345" y="199"/>
                  </a:lnTo>
                  <a:lnTo>
                    <a:pt x="347" y="227"/>
                  </a:lnTo>
                  <a:lnTo>
                    <a:pt x="251" y="227"/>
                  </a:lnTo>
                  <a:close/>
                  <a:moveTo>
                    <a:pt x="251" y="111"/>
                  </a:moveTo>
                  <a:lnTo>
                    <a:pt x="251" y="22"/>
                  </a:lnTo>
                  <a:lnTo>
                    <a:pt x="251" y="22"/>
                  </a:lnTo>
                  <a:lnTo>
                    <a:pt x="261" y="25"/>
                  </a:lnTo>
                  <a:lnTo>
                    <a:pt x="272" y="31"/>
                  </a:lnTo>
                  <a:lnTo>
                    <a:pt x="281" y="38"/>
                  </a:lnTo>
                  <a:lnTo>
                    <a:pt x="291" y="47"/>
                  </a:lnTo>
                  <a:lnTo>
                    <a:pt x="299" y="59"/>
                  </a:lnTo>
                  <a:lnTo>
                    <a:pt x="308" y="72"/>
                  </a:lnTo>
                  <a:lnTo>
                    <a:pt x="316" y="86"/>
                  </a:lnTo>
                  <a:lnTo>
                    <a:pt x="322" y="102"/>
                  </a:lnTo>
                  <a:lnTo>
                    <a:pt x="322" y="102"/>
                  </a:lnTo>
                  <a:lnTo>
                    <a:pt x="306" y="105"/>
                  </a:lnTo>
                  <a:lnTo>
                    <a:pt x="288" y="107"/>
                  </a:lnTo>
                  <a:lnTo>
                    <a:pt x="269" y="110"/>
                  </a:lnTo>
                  <a:lnTo>
                    <a:pt x="251" y="111"/>
                  </a:lnTo>
                  <a:lnTo>
                    <a:pt x="251" y="111"/>
                  </a:lnTo>
                  <a:close/>
                  <a:moveTo>
                    <a:pt x="303" y="29"/>
                  </a:moveTo>
                  <a:lnTo>
                    <a:pt x="303" y="29"/>
                  </a:lnTo>
                  <a:lnTo>
                    <a:pt x="315" y="34"/>
                  </a:lnTo>
                  <a:lnTo>
                    <a:pt x="328" y="39"/>
                  </a:lnTo>
                  <a:lnTo>
                    <a:pt x="339" y="44"/>
                  </a:lnTo>
                  <a:lnTo>
                    <a:pt x="350" y="51"/>
                  </a:lnTo>
                  <a:lnTo>
                    <a:pt x="361" y="57"/>
                  </a:lnTo>
                  <a:lnTo>
                    <a:pt x="371" y="64"/>
                  </a:lnTo>
                  <a:lnTo>
                    <a:pt x="381" y="73"/>
                  </a:lnTo>
                  <a:lnTo>
                    <a:pt x="390" y="81"/>
                  </a:lnTo>
                  <a:lnTo>
                    <a:pt x="390" y="81"/>
                  </a:lnTo>
                  <a:lnTo>
                    <a:pt x="368" y="90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35" y="78"/>
                  </a:lnTo>
                  <a:lnTo>
                    <a:pt x="326" y="60"/>
                  </a:lnTo>
                  <a:lnTo>
                    <a:pt x="315" y="43"/>
                  </a:lnTo>
                  <a:lnTo>
                    <a:pt x="303" y="29"/>
                  </a:lnTo>
                  <a:lnTo>
                    <a:pt x="303" y="29"/>
                  </a:lnTo>
                  <a:close/>
                  <a:moveTo>
                    <a:pt x="135" y="97"/>
                  </a:moveTo>
                  <a:lnTo>
                    <a:pt x="135" y="97"/>
                  </a:lnTo>
                  <a:lnTo>
                    <a:pt x="111" y="90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98" y="73"/>
                  </a:lnTo>
                  <a:lnTo>
                    <a:pt x="109" y="64"/>
                  </a:lnTo>
                  <a:lnTo>
                    <a:pt x="118" y="57"/>
                  </a:lnTo>
                  <a:lnTo>
                    <a:pt x="129" y="51"/>
                  </a:lnTo>
                  <a:lnTo>
                    <a:pt x="141" y="44"/>
                  </a:lnTo>
                  <a:lnTo>
                    <a:pt x="152" y="39"/>
                  </a:lnTo>
                  <a:lnTo>
                    <a:pt x="164" y="34"/>
                  </a:lnTo>
                  <a:lnTo>
                    <a:pt x="177" y="29"/>
                  </a:lnTo>
                  <a:lnTo>
                    <a:pt x="177" y="29"/>
                  </a:lnTo>
                  <a:lnTo>
                    <a:pt x="165" y="43"/>
                  </a:lnTo>
                  <a:lnTo>
                    <a:pt x="154" y="60"/>
                  </a:lnTo>
                  <a:lnTo>
                    <a:pt x="144" y="78"/>
                  </a:lnTo>
                  <a:lnTo>
                    <a:pt x="135" y="97"/>
                  </a:lnTo>
                  <a:lnTo>
                    <a:pt x="135" y="97"/>
                  </a:lnTo>
                  <a:close/>
                  <a:moveTo>
                    <a:pt x="129" y="117"/>
                  </a:moveTo>
                  <a:lnTo>
                    <a:pt x="129" y="117"/>
                  </a:lnTo>
                  <a:lnTo>
                    <a:pt x="122" y="142"/>
                  </a:lnTo>
                  <a:lnTo>
                    <a:pt x="116" y="170"/>
                  </a:lnTo>
                  <a:lnTo>
                    <a:pt x="113" y="198"/>
                  </a:lnTo>
                  <a:lnTo>
                    <a:pt x="112" y="227"/>
                  </a:lnTo>
                  <a:lnTo>
                    <a:pt x="21" y="227"/>
                  </a:lnTo>
                  <a:lnTo>
                    <a:pt x="21" y="227"/>
                  </a:lnTo>
                  <a:lnTo>
                    <a:pt x="23" y="210"/>
                  </a:lnTo>
                  <a:lnTo>
                    <a:pt x="26" y="192"/>
                  </a:lnTo>
                  <a:lnTo>
                    <a:pt x="31" y="174"/>
                  </a:lnTo>
                  <a:lnTo>
                    <a:pt x="37" y="157"/>
                  </a:lnTo>
                  <a:lnTo>
                    <a:pt x="44" y="141"/>
                  </a:lnTo>
                  <a:lnTo>
                    <a:pt x="53" y="125"/>
                  </a:lnTo>
                  <a:lnTo>
                    <a:pt x="63" y="111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87" y="102"/>
                  </a:lnTo>
                  <a:lnTo>
                    <a:pt x="100" y="108"/>
                  </a:lnTo>
                  <a:lnTo>
                    <a:pt x="114" y="113"/>
                  </a:lnTo>
                  <a:lnTo>
                    <a:pt x="129" y="117"/>
                  </a:lnTo>
                  <a:lnTo>
                    <a:pt x="129" y="117"/>
                  </a:lnTo>
                  <a:close/>
                  <a:moveTo>
                    <a:pt x="112" y="249"/>
                  </a:moveTo>
                  <a:lnTo>
                    <a:pt x="112" y="249"/>
                  </a:lnTo>
                  <a:lnTo>
                    <a:pt x="113" y="278"/>
                  </a:lnTo>
                  <a:lnTo>
                    <a:pt x="116" y="306"/>
                  </a:lnTo>
                  <a:lnTo>
                    <a:pt x="122" y="334"/>
                  </a:lnTo>
                  <a:lnTo>
                    <a:pt x="128" y="358"/>
                  </a:lnTo>
                  <a:lnTo>
                    <a:pt x="128" y="358"/>
                  </a:lnTo>
                  <a:lnTo>
                    <a:pt x="114" y="363"/>
                  </a:lnTo>
                  <a:lnTo>
                    <a:pt x="99" y="367"/>
                  </a:lnTo>
                  <a:lnTo>
                    <a:pt x="86" y="374"/>
                  </a:lnTo>
                  <a:lnTo>
                    <a:pt x="73" y="379"/>
                  </a:lnTo>
                  <a:lnTo>
                    <a:pt x="73" y="379"/>
                  </a:lnTo>
                  <a:lnTo>
                    <a:pt x="62" y="365"/>
                  </a:lnTo>
                  <a:lnTo>
                    <a:pt x="53" y="351"/>
                  </a:lnTo>
                  <a:lnTo>
                    <a:pt x="44" y="336"/>
                  </a:lnTo>
                  <a:lnTo>
                    <a:pt x="37" y="319"/>
                  </a:lnTo>
                  <a:lnTo>
                    <a:pt x="31" y="302"/>
                  </a:lnTo>
                  <a:lnTo>
                    <a:pt x="26" y="285"/>
                  </a:lnTo>
                  <a:lnTo>
                    <a:pt x="23" y="267"/>
                  </a:lnTo>
                  <a:lnTo>
                    <a:pt x="21" y="249"/>
                  </a:lnTo>
                  <a:lnTo>
                    <a:pt x="112" y="249"/>
                  </a:lnTo>
                  <a:close/>
                  <a:moveTo>
                    <a:pt x="135" y="378"/>
                  </a:moveTo>
                  <a:lnTo>
                    <a:pt x="135" y="378"/>
                  </a:lnTo>
                  <a:lnTo>
                    <a:pt x="144" y="398"/>
                  </a:lnTo>
                  <a:lnTo>
                    <a:pt x="153" y="417"/>
                  </a:lnTo>
                  <a:lnTo>
                    <a:pt x="165" y="433"/>
                  </a:lnTo>
                  <a:lnTo>
                    <a:pt x="177" y="446"/>
                  </a:lnTo>
                  <a:lnTo>
                    <a:pt x="177" y="446"/>
                  </a:lnTo>
                  <a:lnTo>
                    <a:pt x="164" y="442"/>
                  </a:lnTo>
                  <a:lnTo>
                    <a:pt x="152" y="438"/>
                  </a:lnTo>
                  <a:lnTo>
                    <a:pt x="141" y="432"/>
                  </a:lnTo>
                  <a:lnTo>
                    <a:pt x="129" y="426"/>
                  </a:lnTo>
                  <a:lnTo>
                    <a:pt x="118" y="419"/>
                  </a:lnTo>
                  <a:lnTo>
                    <a:pt x="108" y="412"/>
                  </a:lnTo>
                  <a:lnTo>
                    <a:pt x="98" y="404"/>
                  </a:lnTo>
                  <a:lnTo>
                    <a:pt x="89" y="395"/>
                  </a:lnTo>
                  <a:lnTo>
                    <a:pt x="89" y="395"/>
                  </a:lnTo>
                  <a:lnTo>
                    <a:pt x="111" y="386"/>
                  </a:lnTo>
                  <a:lnTo>
                    <a:pt x="135" y="378"/>
                  </a:lnTo>
                  <a:lnTo>
                    <a:pt x="135" y="378"/>
                  </a:lnTo>
                  <a:close/>
                  <a:moveTo>
                    <a:pt x="345" y="378"/>
                  </a:moveTo>
                  <a:lnTo>
                    <a:pt x="345" y="378"/>
                  </a:lnTo>
                  <a:lnTo>
                    <a:pt x="369" y="386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82" y="404"/>
                  </a:lnTo>
                  <a:lnTo>
                    <a:pt x="371" y="412"/>
                  </a:lnTo>
                  <a:lnTo>
                    <a:pt x="362" y="419"/>
                  </a:lnTo>
                  <a:lnTo>
                    <a:pt x="350" y="426"/>
                  </a:lnTo>
                  <a:lnTo>
                    <a:pt x="339" y="432"/>
                  </a:lnTo>
                  <a:lnTo>
                    <a:pt x="328" y="438"/>
                  </a:lnTo>
                  <a:lnTo>
                    <a:pt x="316" y="442"/>
                  </a:lnTo>
                  <a:lnTo>
                    <a:pt x="303" y="446"/>
                  </a:lnTo>
                  <a:lnTo>
                    <a:pt x="303" y="446"/>
                  </a:lnTo>
                  <a:lnTo>
                    <a:pt x="315" y="433"/>
                  </a:lnTo>
                  <a:lnTo>
                    <a:pt x="326" y="417"/>
                  </a:lnTo>
                  <a:lnTo>
                    <a:pt x="335" y="398"/>
                  </a:lnTo>
                  <a:lnTo>
                    <a:pt x="345" y="378"/>
                  </a:lnTo>
                  <a:lnTo>
                    <a:pt x="345" y="378"/>
                  </a:lnTo>
                  <a:close/>
                  <a:moveTo>
                    <a:pt x="351" y="358"/>
                  </a:moveTo>
                  <a:lnTo>
                    <a:pt x="351" y="358"/>
                  </a:lnTo>
                  <a:lnTo>
                    <a:pt x="357" y="334"/>
                  </a:lnTo>
                  <a:lnTo>
                    <a:pt x="363" y="306"/>
                  </a:lnTo>
                  <a:lnTo>
                    <a:pt x="366" y="278"/>
                  </a:lnTo>
                  <a:lnTo>
                    <a:pt x="368" y="249"/>
                  </a:lnTo>
                  <a:lnTo>
                    <a:pt x="458" y="249"/>
                  </a:lnTo>
                  <a:lnTo>
                    <a:pt x="458" y="249"/>
                  </a:lnTo>
                  <a:lnTo>
                    <a:pt x="457" y="267"/>
                  </a:lnTo>
                  <a:lnTo>
                    <a:pt x="454" y="285"/>
                  </a:lnTo>
                  <a:lnTo>
                    <a:pt x="448" y="302"/>
                  </a:lnTo>
                  <a:lnTo>
                    <a:pt x="443" y="319"/>
                  </a:lnTo>
                  <a:lnTo>
                    <a:pt x="436" y="336"/>
                  </a:lnTo>
                  <a:lnTo>
                    <a:pt x="427" y="351"/>
                  </a:lnTo>
                  <a:lnTo>
                    <a:pt x="417" y="365"/>
                  </a:lnTo>
                  <a:lnTo>
                    <a:pt x="406" y="379"/>
                  </a:lnTo>
                  <a:lnTo>
                    <a:pt x="406" y="379"/>
                  </a:lnTo>
                  <a:lnTo>
                    <a:pt x="393" y="374"/>
                  </a:lnTo>
                  <a:lnTo>
                    <a:pt x="380" y="367"/>
                  </a:lnTo>
                  <a:lnTo>
                    <a:pt x="366" y="363"/>
                  </a:lnTo>
                  <a:lnTo>
                    <a:pt x="351" y="358"/>
                  </a:lnTo>
                  <a:lnTo>
                    <a:pt x="351" y="358"/>
                  </a:lnTo>
                  <a:close/>
                  <a:moveTo>
                    <a:pt x="368" y="227"/>
                  </a:moveTo>
                  <a:lnTo>
                    <a:pt x="368" y="227"/>
                  </a:lnTo>
                  <a:lnTo>
                    <a:pt x="366" y="198"/>
                  </a:lnTo>
                  <a:lnTo>
                    <a:pt x="363" y="170"/>
                  </a:lnTo>
                  <a:lnTo>
                    <a:pt x="357" y="142"/>
                  </a:lnTo>
                  <a:lnTo>
                    <a:pt x="351" y="117"/>
                  </a:lnTo>
                  <a:lnTo>
                    <a:pt x="351" y="117"/>
                  </a:lnTo>
                  <a:lnTo>
                    <a:pt x="366" y="113"/>
                  </a:lnTo>
                  <a:lnTo>
                    <a:pt x="380" y="108"/>
                  </a:lnTo>
                  <a:lnTo>
                    <a:pt x="393" y="102"/>
                  </a:lnTo>
                  <a:lnTo>
                    <a:pt x="406" y="97"/>
                  </a:lnTo>
                  <a:lnTo>
                    <a:pt x="406" y="97"/>
                  </a:lnTo>
                  <a:lnTo>
                    <a:pt x="417" y="111"/>
                  </a:lnTo>
                  <a:lnTo>
                    <a:pt x="426" y="125"/>
                  </a:lnTo>
                  <a:lnTo>
                    <a:pt x="436" y="141"/>
                  </a:lnTo>
                  <a:lnTo>
                    <a:pt x="442" y="157"/>
                  </a:lnTo>
                  <a:lnTo>
                    <a:pt x="448" y="174"/>
                  </a:lnTo>
                  <a:lnTo>
                    <a:pt x="454" y="192"/>
                  </a:lnTo>
                  <a:lnTo>
                    <a:pt x="457" y="210"/>
                  </a:lnTo>
                  <a:lnTo>
                    <a:pt x="458" y="227"/>
                  </a:lnTo>
                  <a:lnTo>
                    <a:pt x="368" y="227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6897950" y="4714562"/>
              <a:ext cx="825624" cy="13577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953447" y="2938751"/>
              <a:ext cx="1154097" cy="186840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490773A7-1367-433F-BF60-B1917D2D230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75047" y="4742704"/>
              <a:ext cx="672559" cy="1059280"/>
              <a:chOff x="3598" y="1719"/>
              <a:chExt cx="480" cy="756"/>
            </a:xfrm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B6078F42-34F3-450D-835B-BA05421BB4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8" y="1719"/>
                <a:ext cx="480" cy="756"/>
              </a:xfrm>
              <a:custGeom>
                <a:avLst/>
                <a:gdLst>
                  <a:gd name="T0" fmla="*/ 478 w 480"/>
                  <a:gd name="T1" fmla="*/ 218 h 791"/>
                  <a:gd name="T2" fmla="*/ 461 w 480"/>
                  <a:gd name="T3" fmla="*/ 148 h 791"/>
                  <a:gd name="T4" fmla="*/ 426 w 480"/>
                  <a:gd name="T5" fmla="*/ 89 h 791"/>
                  <a:gd name="T6" fmla="*/ 374 w 480"/>
                  <a:gd name="T7" fmla="*/ 42 h 791"/>
                  <a:gd name="T8" fmla="*/ 312 w 480"/>
                  <a:gd name="T9" fmla="*/ 12 h 791"/>
                  <a:gd name="T10" fmla="*/ 241 w 480"/>
                  <a:gd name="T11" fmla="*/ 0 h 791"/>
                  <a:gd name="T12" fmla="*/ 192 w 480"/>
                  <a:gd name="T13" fmla="*/ 5 h 791"/>
                  <a:gd name="T14" fmla="*/ 126 w 480"/>
                  <a:gd name="T15" fmla="*/ 30 h 791"/>
                  <a:gd name="T16" fmla="*/ 71 w 480"/>
                  <a:gd name="T17" fmla="*/ 71 h 791"/>
                  <a:gd name="T18" fmla="*/ 29 w 480"/>
                  <a:gd name="T19" fmla="*/ 127 h 791"/>
                  <a:gd name="T20" fmla="*/ 5 w 480"/>
                  <a:gd name="T21" fmla="*/ 193 h 791"/>
                  <a:gd name="T22" fmla="*/ 0 w 480"/>
                  <a:gd name="T23" fmla="*/ 242 h 791"/>
                  <a:gd name="T24" fmla="*/ 5 w 480"/>
                  <a:gd name="T25" fmla="*/ 291 h 791"/>
                  <a:gd name="T26" fmla="*/ 21 w 480"/>
                  <a:gd name="T27" fmla="*/ 338 h 791"/>
                  <a:gd name="T28" fmla="*/ 54 w 480"/>
                  <a:gd name="T29" fmla="*/ 392 h 791"/>
                  <a:gd name="T30" fmla="*/ 111 w 480"/>
                  <a:gd name="T31" fmla="*/ 444 h 791"/>
                  <a:gd name="T32" fmla="*/ 118 w 480"/>
                  <a:gd name="T33" fmla="*/ 720 h 791"/>
                  <a:gd name="T34" fmla="*/ 315 w 480"/>
                  <a:gd name="T35" fmla="*/ 791 h 791"/>
                  <a:gd name="T36" fmla="*/ 355 w 480"/>
                  <a:gd name="T37" fmla="*/ 453 h 791"/>
                  <a:gd name="T38" fmla="*/ 383 w 480"/>
                  <a:gd name="T39" fmla="*/ 436 h 791"/>
                  <a:gd name="T40" fmla="*/ 445 w 480"/>
                  <a:gd name="T41" fmla="*/ 366 h 791"/>
                  <a:gd name="T42" fmla="*/ 466 w 480"/>
                  <a:gd name="T43" fmla="*/ 322 h 791"/>
                  <a:gd name="T44" fmla="*/ 478 w 480"/>
                  <a:gd name="T45" fmla="*/ 275 h 791"/>
                  <a:gd name="T46" fmla="*/ 480 w 480"/>
                  <a:gd name="T47" fmla="*/ 242 h 791"/>
                  <a:gd name="T48" fmla="*/ 220 w 480"/>
                  <a:gd name="T49" fmla="*/ 446 h 791"/>
                  <a:gd name="T50" fmla="*/ 161 w 480"/>
                  <a:gd name="T51" fmla="*/ 432 h 791"/>
                  <a:gd name="T52" fmla="*/ 111 w 480"/>
                  <a:gd name="T53" fmla="*/ 401 h 791"/>
                  <a:gd name="T54" fmla="*/ 71 w 480"/>
                  <a:gd name="T55" fmla="*/ 357 h 791"/>
                  <a:gd name="T56" fmla="*/ 45 w 480"/>
                  <a:gd name="T57" fmla="*/ 303 h 791"/>
                  <a:gd name="T58" fmla="*/ 36 w 480"/>
                  <a:gd name="T59" fmla="*/ 242 h 791"/>
                  <a:gd name="T60" fmla="*/ 40 w 480"/>
                  <a:gd name="T61" fmla="*/ 200 h 791"/>
                  <a:gd name="T62" fmla="*/ 61 w 480"/>
                  <a:gd name="T63" fmla="*/ 143 h 791"/>
                  <a:gd name="T64" fmla="*/ 95 w 480"/>
                  <a:gd name="T65" fmla="*/ 96 h 791"/>
                  <a:gd name="T66" fmla="*/ 144 w 480"/>
                  <a:gd name="T67" fmla="*/ 61 h 791"/>
                  <a:gd name="T68" fmla="*/ 199 w 480"/>
                  <a:gd name="T69" fmla="*/ 40 h 791"/>
                  <a:gd name="T70" fmla="*/ 241 w 480"/>
                  <a:gd name="T71" fmla="*/ 37 h 791"/>
                  <a:gd name="T72" fmla="*/ 302 w 480"/>
                  <a:gd name="T73" fmla="*/ 45 h 791"/>
                  <a:gd name="T74" fmla="*/ 355 w 480"/>
                  <a:gd name="T75" fmla="*/ 71 h 791"/>
                  <a:gd name="T76" fmla="*/ 399 w 480"/>
                  <a:gd name="T77" fmla="*/ 112 h 791"/>
                  <a:gd name="T78" fmla="*/ 430 w 480"/>
                  <a:gd name="T79" fmla="*/ 162 h 791"/>
                  <a:gd name="T80" fmla="*/ 444 w 480"/>
                  <a:gd name="T81" fmla="*/ 221 h 791"/>
                  <a:gd name="T82" fmla="*/ 444 w 480"/>
                  <a:gd name="T83" fmla="*/ 263 h 791"/>
                  <a:gd name="T84" fmla="*/ 430 w 480"/>
                  <a:gd name="T85" fmla="*/ 322 h 791"/>
                  <a:gd name="T86" fmla="*/ 399 w 480"/>
                  <a:gd name="T87" fmla="*/ 373 h 791"/>
                  <a:gd name="T88" fmla="*/ 355 w 480"/>
                  <a:gd name="T89" fmla="*/ 413 h 791"/>
                  <a:gd name="T90" fmla="*/ 302 w 480"/>
                  <a:gd name="T91" fmla="*/ 439 h 791"/>
                  <a:gd name="T92" fmla="*/ 241 w 480"/>
                  <a:gd name="T93" fmla="*/ 448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0" h="791">
                    <a:moveTo>
                      <a:pt x="480" y="242"/>
                    </a:moveTo>
                    <a:lnTo>
                      <a:pt x="480" y="242"/>
                    </a:lnTo>
                    <a:lnTo>
                      <a:pt x="478" y="218"/>
                    </a:lnTo>
                    <a:lnTo>
                      <a:pt x="475" y="193"/>
                    </a:lnTo>
                    <a:lnTo>
                      <a:pt x="470" y="171"/>
                    </a:lnTo>
                    <a:lnTo>
                      <a:pt x="461" y="148"/>
                    </a:lnTo>
                    <a:lnTo>
                      <a:pt x="451" y="127"/>
                    </a:lnTo>
                    <a:lnTo>
                      <a:pt x="438" y="106"/>
                    </a:lnTo>
                    <a:lnTo>
                      <a:pt x="426" y="89"/>
                    </a:lnTo>
                    <a:lnTo>
                      <a:pt x="411" y="71"/>
                    </a:lnTo>
                    <a:lnTo>
                      <a:pt x="393" y="56"/>
                    </a:lnTo>
                    <a:lnTo>
                      <a:pt x="374" y="42"/>
                    </a:lnTo>
                    <a:lnTo>
                      <a:pt x="355" y="30"/>
                    </a:lnTo>
                    <a:lnTo>
                      <a:pt x="334" y="19"/>
                    </a:lnTo>
                    <a:lnTo>
                      <a:pt x="312" y="12"/>
                    </a:lnTo>
                    <a:lnTo>
                      <a:pt x="289" y="5"/>
                    </a:lnTo>
                    <a:lnTo>
                      <a:pt x="265" y="2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17" y="2"/>
                    </a:lnTo>
                    <a:lnTo>
                      <a:pt x="192" y="5"/>
                    </a:lnTo>
                    <a:lnTo>
                      <a:pt x="170" y="12"/>
                    </a:lnTo>
                    <a:lnTo>
                      <a:pt x="147" y="19"/>
                    </a:lnTo>
                    <a:lnTo>
                      <a:pt x="126" y="30"/>
                    </a:lnTo>
                    <a:lnTo>
                      <a:pt x="106" y="42"/>
                    </a:lnTo>
                    <a:lnTo>
                      <a:pt x="88" y="56"/>
                    </a:lnTo>
                    <a:lnTo>
                      <a:pt x="71" y="71"/>
                    </a:lnTo>
                    <a:lnTo>
                      <a:pt x="55" y="89"/>
                    </a:lnTo>
                    <a:lnTo>
                      <a:pt x="42" y="106"/>
                    </a:lnTo>
                    <a:lnTo>
                      <a:pt x="29" y="127"/>
                    </a:lnTo>
                    <a:lnTo>
                      <a:pt x="19" y="148"/>
                    </a:lnTo>
                    <a:lnTo>
                      <a:pt x="12" y="171"/>
                    </a:lnTo>
                    <a:lnTo>
                      <a:pt x="5" y="193"/>
                    </a:lnTo>
                    <a:lnTo>
                      <a:pt x="2" y="21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2" y="258"/>
                    </a:lnTo>
                    <a:lnTo>
                      <a:pt x="3" y="275"/>
                    </a:lnTo>
                    <a:lnTo>
                      <a:pt x="5" y="291"/>
                    </a:lnTo>
                    <a:lnTo>
                      <a:pt x="10" y="307"/>
                    </a:lnTo>
                    <a:lnTo>
                      <a:pt x="14" y="322"/>
                    </a:lnTo>
                    <a:lnTo>
                      <a:pt x="21" y="338"/>
                    </a:lnTo>
                    <a:lnTo>
                      <a:pt x="28" y="352"/>
                    </a:lnTo>
                    <a:lnTo>
                      <a:pt x="35" y="366"/>
                    </a:lnTo>
                    <a:lnTo>
                      <a:pt x="54" y="392"/>
                    </a:lnTo>
                    <a:lnTo>
                      <a:pt x="75" y="415"/>
                    </a:lnTo>
                    <a:lnTo>
                      <a:pt x="99" y="436"/>
                    </a:lnTo>
                    <a:lnTo>
                      <a:pt x="111" y="444"/>
                    </a:lnTo>
                    <a:lnTo>
                      <a:pt x="125" y="453"/>
                    </a:lnTo>
                    <a:lnTo>
                      <a:pt x="43" y="758"/>
                    </a:lnTo>
                    <a:lnTo>
                      <a:pt x="118" y="720"/>
                    </a:lnTo>
                    <a:lnTo>
                      <a:pt x="165" y="791"/>
                    </a:lnTo>
                    <a:lnTo>
                      <a:pt x="241" y="510"/>
                    </a:lnTo>
                    <a:lnTo>
                      <a:pt x="315" y="791"/>
                    </a:lnTo>
                    <a:lnTo>
                      <a:pt x="362" y="720"/>
                    </a:lnTo>
                    <a:lnTo>
                      <a:pt x="437" y="758"/>
                    </a:lnTo>
                    <a:lnTo>
                      <a:pt x="355" y="453"/>
                    </a:lnTo>
                    <a:lnTo>
                      <a:pt x="355" y="453"/>
                    </a:lnTo>
                    <a:lnTo>
                      <a:pt x="369" y="444"/>
                    </a:lnTo>
                    <a:lnTo>
                      <a:pt x="383" y="436"/>
                    </a:lnTo>
                    <a:lnTo>
                      <a:pt x="407" y="415"/>
                    </a:lnTo>
                    <a:lnTo>
                      <a:pt x="428" y="392"/>
                    </a:lnTo>
                    <a:lnTo>
                      <a:pt x="445" y="366"/>
                    </a:lnTo>
                    <a:lnTo>
                      <a:pt x="454" y="352"/>
                    </a:lnTo>
                    <a:lnTo>
                      <a:pt x="461" y="338"/>
                    </a:lnTo>
                    <a:lnTo>
                      <a:pt x="466" y="322"/>
                    </a:lnTo>
                    <a:lnTo>
                      <a:pt x="471" y="307"/>
                    </a:lnTo>
                    <a:lnTo>
                      <a:pt x="475" y="291"/>
                    </a:lnTo>
                    <a:lnTo>
                      <a:pt x="478" y="275"/>
                    </a:lnTo>
                    <a:lnTo>
                      <a:pt x="480" y="258"/>
                    </a:lnTo>
                    <a:lnTo>
                      <a:pt x="480" y="242"/>
                    </a:lnTo>
                    <a:lnTo>
                      <a:pt x="480" y="242"/>
                    </a:lnTo>
                    <a:close/>
                    <a:moveTo>
                      <a:pt x="241" y="448"/>
                    </a:moveTo>
                    <a:lnTo>
                      <a:pt x="241" y="448"/>
                    </a:lnTo>
                    <a:lnTo>
                      <a:pt x="220" y="446"/>
                    </a:lnTo>
                    <a:lnTo>
                      <a:pt x="199" y="443"/>
                    </a:lnTo>
                    <a:lnTo>
                      <a:pt x="180" y="439"/>
                    </a:lnTo>
                    <a:lnTo>
                      <a:pt x="161" y="432"/>
                    </a:lnTo>
                    <a:lnTo>
                      <a:pt x="144" y="423"/>
                    </a:lnTo>
                    <a:lnTo>
                      <a:pt x="126" y="413"/>
                    </a:lnTo>
                    <a:lnTo>
                      <a:pt x="111" y="401"/>
                    </a:lnTo>
                    <a:lnTo>
                      <a:pt x="95" y="387"/>
                    </a:lnTo>
                    <a:lnTo>
                      <a:pt x="83" y="373"/>
                    </a:lnTo>
                    <a:lnTo>
                      <a:pt x="71" y="357"/>
                    </a:lnTo>
                    <a:lnTo>
                      <a:pt x="61" y="340"/>
                    </a:lnTo>
                    <a:lnTo>
                      <a:pt x="52" y="322"/>
                    </a:lnTo>
                    <a:lnTo>
                      <a:pt x="45" y="303"/>
                    </a:lnTo>
                    <a:lnTo>
                      <a:pt x="40" y="284"/>
                    </a:lnTo>
                    <a:lnTo>
                      <a:pt x="36" y="263"/>
                    </a:lnTo>
                    <a:lnTo>
                      <a:pt x="36" y="242"/>
                    </a:lnTo>
                    <a:lnTo>
                      <a:pt x="36" y="242"/>
                    </a:lnTo>
                    <a:lnTo>
                      <a:pt x="36" y="221"/>
                    </a:lnTo>
                    <a:lnTo>
                      <a:pt x="40" y="200"/>
                    </a:lnTo>
                    <a:lnTo>
                      <a:pt x="45" y="181"/>
                    </a:lnTo>
                    <a:lnTo>
                      <a:pt x="52" y="162"/>
                    </a:lnTo>
                    <a:lnTo>
                      <a:pt x="61" y="143"/>
                    </a:lnTo>
                    <a:lnTo>
                      <a:pt x="71" y="127"/>
                    </a:lnTo>
                    <a:lnTo>
                      <a:pt x="83" y="112"/>
                    </a:lnTo>
                    <a:lnTo>
                      <a:pt x="95" y="96"/>
                    </a:lnTo>
                    <a:lnTo>
                      <a:pt x="111" y="84"/>
                    </a:lnTo>
                    <a:lnTo>
                      <a:pt x="126" y="71"/>
                    </a:lnTo>
                    <a:lnTo>
                      <a:pt x="144" y="61"/>
                    </a:lnTo>
                    <a:lnTo>
                      <a:pt x="161" y="52"/>
                    </a:lnTo>
                    <a:lnTo>
                      <a:pt x="180" y="45"/>
                    </a:lnTo>
                    <a:lnTo>
                      <a:pt x="199" y="40"/>
                    </a:lnTo>
                    <a:lnTo>
                      <a:pt x="220" y="37"/>
                    </a:lnTo>
                    <a:lnTo>
                      <a:pt x="241" y="37"/>
                    </a:lnTo>
                    <a:lnTo>
                      <a:pt x="241" y="37"/>
                    </a:lnTo>
                    <a:lnTo>
                      <a:pt x="262" y="37"/>
                    </a:lnTo>
                    <a:lnTo>
                      <a:pt x="282" y="40"/>
                    </a:lnTo>
                    <a:lnTo>
                      <a:pt x="302" y="45"/>
                    </a:lnTo>
                    <a:lnTo>
                      <a:pt x="321" y="52"/>
                    </a:lnTo>
                    <a:lnTo>
                      <a:pt x="338" y="61"/>
                    </a:lnTo>
                    <a:lnTo>
                      <a:pt x="355" y="71"/>
                    </a:lnTo>
                    <a:lnTo>
                      <a:pt x="371" y="84"/>
                    </a:lnTo>
                    <a:lnTo>
                      <a:pt x="385" y="96"/>
                    </a:lnTo>
                    <a:lnTo>
                      <a:pt x="399" y="112"/>
                    </a:lnTo>
                    <a:lnTo>
                      <a:pt x="411" y="127"/>
                    </a:lnTo>
                    <a:lnTo>
                      <a:pt x="421" y="143"/>
                    </a:lnTo>
                    <a:lnTo>
                      <a:pt x="430" y="162"/>
                    </a:lnTo>
                    <a:lnTo>
                      <a:pt x="437" y="181"/>
                    </a:lnTo>
                    <a:lnTo>
                      <a:pt x="440" y="200"/>
                    </a:lnTo>
                    <a:lnTo>
                      <a:pt x="444" y="221"/>
                    </a:lnTo>
                    <a:lnTo>
                      <a:pt x="445" y="242"/>
                    </a:lnTo>
                    <a:lnTo>
                      <a:pt x="445" y="242"/>
                    </a:lnTo>
                    <a:lnTo>
                      <a:pt x="444" y="263"/>
                    </a:lnTo>
                    <a:lnTo>
                      <a:pt x="440" y="284"/>
                    </a:lnTo>
                    <a:lnTo>
                      <a:pt x="437" y="303"/>
                    </a:lnTo>
                    <a:lnTo>
                      <a:pt x="430" y="322"/>
                    </a:lnTo>
                    <a:lnTo>
                      <a:pt x="421" y="340"/>
                    </a:lnTo>
                    <a:lnTo>
                      <a:pt x="411" y="357"/>
                    </a:lnTo>
                    <a:lnTo>
                      <a:pt x="399" y="373"/>
                    </a:lnTo>
                    <a:lnTo>
                      <a:pt x="385" y="387"/>
                    </a:lnTo>
                    <a:lnTo>
                      <a:pt x="371" y="401"/>
                    </a:lnTo>
                    <a:lnTo>
                      <a:pt x="355" y="413"/>
                    </a:lnTo>
                    <a:lnTo>
                      <a:pt x="338" y="423"/>
                    </a:lnTo>
                    <a:lnTo>
                      <a:pt x="321" y="432"/>
                    </a:lnTo>
                    <a:lnTo>
                      <a:pt x="302" y="439"/>
                    </a:lnTo>
                    <a:lnTo>
                      <a:pt x="282" y="443"/>
                    </a:lnTo>
                    <a:lnTo>
                      <a:pt x="262" y="446"/>
                    </a:lnTo>
                    <a:lnTo>
                      <a:pt x="241" y="448"/>
                    </a:lnTo>
                    <a:lnTo>
                      <a:pt x="241" y="448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77B4DAFD-48CD-4A56-9EFE-BA8395A17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2" y="1805"/>
                <a:ext cx="291" cy="277"/>
              </a:xfrm>
              <a:custGeom>
                <a:avLst/>
                <a:gdLst>
                  <a:gd name="T0" fmla="*/ 291 w 291"/>
                  <a:gd name="T1" fmla="*/ 106 h 277"/>
                  <a:gd name="T2" fmla="*/ 191 w 291"/>
                  <a:gd name="T3" fmla="*/ 90 h 277"/>
                  <a:gd name="T4" fmla="*/ 146 w 291"/>
                  <a:gd name="T5" fmla="*/ 0 h 277"/>
                  <a:gd name="T6" fmla="*/ 101 w 291"/>
                  <a:gd name="T7" fmla="*/ 90 h 277"/>
                  <a:gd name="T8" fmla="*/ 0 w 291"/>
                  <a:gd name="T9" fmla="*/ 106 h 277"/>
                  <a:gd name="T10" fmla="*/ 73 w 291"/>
                  <a:gd name="T11" fmla="*/ 176 h 277"/>
                  <a:gd name="T12" fmla="*/ 56 w 291"/>
                  <a:gd name="T13" fmla="*/ 277 h 277"/>
                  <a:gd name="T14" fmla="*/ 146 w 291"/>
                  <a:gd name="T15" fmla="*/ 230 h 277"/>
                  <a:gd name="T16" fmla="*/ 236 w 291"/>
                  <a:gd name="T17" fmla="*/ 277 h 277"/>
                  <a:gd name="T18" fmla="*/ 219 w 291"/>
                  <a:gd name="T19" fmla="*/ 176 h 277"/>
                  <a:gd name="T20" fmla="*/ 291 w 291"/>
                  <a:gd name="T21" fmla="*/ 106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1" h="277">
                    <a:moveTo>
                      <a:pt x="291" y="106"/>
                    </a:moveTo>
                    <a:lnTo>
                      <a:pt x="191" y="90"/>
                    </a:lnTo>
                    <a:lnTo>
                      <a:pt x="146" y="0"/>
                    </a:lnTo>
                    <a:lnTo>
                      <a:pt x="101" y="90"/>
                    </a:lnTo>
                    <a:lnTo>
                      <a:pt x="0" y="106"/>
                    </a:lnTo>
                    <a:lnTo>
                      <a:pt x="73" y="176"/>
                    </a:lnTo>
                    <a:lnTo>
                      <a:pt x="56" y="277"/>
                    </a:lnTo>
                    <a:lnTo>
                      <a:pt x="146" y="230"/>
                    </a:lnTo>
                    <a:lnTo>
                      <a:pt x="236" y="277"/>
                    </a:lnTo>
                    <a:lnTo>
                      <a:pt x="219" y="176"/>
                    </a:lnTo>
                    <a:lnTo>
                      <a:pt x="291" y="106"/>
                    </a:lnTo>
                    <a:close/>
                  </a:path>
                </a:pathLst>
              </a:custGeom>
              <a:solidFill>
                <a:srgbClr val="009E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5" name="Freeform 14"/>
            <p:cNvSpPr>
              <a:spLocks noChangeAspect="1"/>
            </p:cNvSpPr>
            <p:nvPr/>
          </p:nvSpPr>
          <p:spPr>
            <a:xfrm>
              <a:off x="959376" y="3067124"/>
              <a:ext cx="1142239" cy="1551466"/>
            </a:xfrm>
            <a:custGeom>
              <a:avLst/>
              <a:gdLst/>
              <a:ahLst/>
              <a:cxnLst/>
              <a:rect l="l" t="t" r="r" b="b"/>
              <a:pathLst>
                <a:path w="3287745" h="4465637">
                  <a:moveTo>
                    <a:pt x="408645" y="804415"/>
                  </a:moveTo>
                  <a:lnTo>
                    <a:pt x="412741" y="813567"/>
                  </a:lnTo>
                  <a:lnTo>
                    <a:pt x="405072" y="814301"/>
                  </a:lnTo>
                  <a:lnTo>
                    <a:pt x="393029" y="818865"/>
                  </a:lnTo>
                  <a:lnTo>
                    <a:pt x="386687" y="820080"/>
                  </a:lnTo>
                  <a:lnTo>
                    <a:pt x="386505" y="823590"/>
                  </a:lnTo>
                  <a:lnTo>
                    <a:pt x="390208" y="825271"/>
                  </a:lnTo>
                  <a:lnTo>
                    <a:pt x="393025" y="827511"/>
                  </a:lnTo>
                  <a:lnTo>
                    <a:pt x="395334" y="831029"/>
                  </a:lnTo>
                  <a:lnTo>
                    <a:pt x="397429" y="836587"/>
                  </a:lnTo>
                  <a:lnTo>
                    <a:pt x="394483" y="834666"/>
                  </a:lnTo>
                  <a:lnTo>
                    <a:pt x="390365" y="829193"/>
                  </a:lnTo>
                  <a:lnTo>
                    <a:pt x="387525" y="827930"/>
                  </a:lnTo>
                  <a:lnTo>
                    <a:pt x="384071" y="828359"/>
                  </a:lnTo>
                  <a:lnTo>
                    <a:pt x="378910" y="830751"/>
                  </a:lnTo>
                  <a:lnTo>
                    <a:pt x="376806" y="831296"/>
                  </a:lnTo>
                  <a:lnTo>
                    <a:pt x="370866" y="827936"/>
                  </a:lnTo>
                  <a:lnTo>
                    <a:pt x="366555" y="821003"/>
                  </a:lnTo>
                  <a:lnTo>
                    <a:pt x="365612" y="814221"/>
                  </a:lnTo>
                  <a:lnTo>
                    <a:pt x="369716" y="811380"/>
                  </a:lnTo>
                  <a:lnTo>
                    <a:pt x="395940" y="804753"/>
                  </a:lnTo>
                  <a:close/>
                  <a:moveTo>
                    <a:pt x="499547" y="766386"/>
                  </a:moveTo>
                  <a:lnTo>
                    <a:pt x="512349" y="771080"/>
                  </a:lnTo>
                  <a:lnTo>
                    <a:pt x="440334" y="775814"/>
                  </a:lnTo>
                  <a:lnTo>
                    <a:pt x="453171" y="770195"/>
                  </a:lnTo>
                  <a:close/>
                  <a:moveTo>
                    <a:pt x="874398" y="755236"/>
                  </a:moveTo>
                  <a:lnTo>
                    <a:pt x="881954" y="756704"/>
                  </a:lnTo>
                  <a:lnTo>
                    <a:pt x="888948" y="762088"/>
                  </a:lnTo>
                  <a:lnTo>
                    <a:pt x="884103" y="761939"/>
                  </a:lnTo>
                  <a:lnTo>
                    <a:pt x="880701" y="763208"/>
                  </a:lnTo>
                  <a:lnTo>
                    <a:pt x="875139" y="768294"/>
                  </a:lnTo>
                  <a:lnTo>
                    <a:pt x="873449" y="769428"/>
                  </a:lnTo>
                  <a:lnTo>
                    <a:pt x="870555" y="768569"/>
                  </a:lnTo>
                  <a:lnTo>
                    <a:pt x="868725" y="767184"/>
                  </a:lnTo>
                  <a:lnTo>
                    <a:pt x="866697" y="766841"/>
                  </a:lnTo>
                  <a:lnTo>
                    <a:pt x="863041" y="769099"/>
                  </a:lnTo>
                  <a:lnTo>
                    <a:pt x="863167" y="765192"/>
                  </a:lnTo>
                  <a:lnTo>
                    <a:pt x="867644" y="757956"/>
                  </a:lnTo>
                  <a:close/>
                  <a:moveTo>
                    <a:pt x="563329" y="749079"/>
                  </a:moveTo>
                  <a:lnTo>
                    <a:pt x="601587" y="751571"/>
                  </a:lnTo>
                  <a:lnTo>
                    <a:pt x="601634" y="754298"/>
                  </a:lnTo>
                  <a:lnTo>
                    <a:pt x="601056" y="754927"/>
                  </a:lnTo>
                  <a:lnTo>
                    <a:pt x="600122" y="754863"/>
                  </a:lnTo>
                  <a:lnTo>
                    <a:pt x="584104" y="760535"/>
                  </a:lnTo>
                  <a:lnTo>
                    <a:pt x="542544" y="764206"/>
                  </a:lnTo>
                  <a:lnTo>
                    <a:pt x="529040" y="759775"/>
                  </a:lnTo>
                  <a:lnTo>
                    <a:pt x="544950" y="751338"/>
                  </a:lnTo>
                  <a:close/>
                  <a:moveTo>
                    <a:pt x="621168" y="747388"/>
                  </a:moveTo>
                  <a:lnTo>
                    <a:pt x="627572" y="749097"/>
                  </a:lnTo>
                  <a:lnTo>
                    <a:pt x="631797" y="752835"/>
                  </a:lnTo>
                  <a:lnTo>
                    <a:pt x="630630" y="755022"/>
                  </a:lnTo>
                  <a:lnTo>
                    <a:pt x="629464" y="755882"/>
                  </a:lnTo>
                  <a:lnTo>
                    <a:pt x="626790" y="756540"/>
                  </a:lnTo>
                  <a:lnTo>
                    <a:pt x="613430" y="751770"/>
                  </a:lnTo>
                  <a:lnTo>
                    <a:pt x="608465" y="751862"/>
                  </a:lnTo>
                  <a:lnTo>
                    <a:pt x="614218" y="748170"/>
                  </a:lnTo>
                  <a:close/>
                  <a:moveTo>
                    <a:pt x="649974" y="734435"/>
                  </a:moveTo>
                  <a:lnTo>
                    <a:pt x="660272" y="734455"/>
                  </a:lnTo>
                  <a:lnTo>
                    <a:pt x="690417" y="735366"/>
                  </a:lnTo>
                  <a:lnTo>
                    <a:pt x="697044" y="739814"/>
                  </a:lnTo>
                  <a:lnTo>
                    <a:pt x="697111" y="742307"/>
                  </a:lnTo>
                  <a:lnTo>
                    <a:pt x="696594" y="742846"/>
                  </a:lnTo>
                  <a:lnTo>
                    <a:pt x="695770" y="742792"/>
                  </a:lnTo>
                  <a:lnTo>
                    <a:pt x="694842" y="743267"/>
                  </a:lnTo>
                  <a:lnTo>
                    <a:pt x="670231" y="741535"/>
                  </a:lnTo>
                  <a:lnTo>
                    <a:pt x="658703" y="743893"/>
                  </a:lnTo>
                  <a:lnTo>
                    <a:pt x="657385" y="753876"/>
                  </a:lnTo>
                  <a:lnTo>
                    <a:pt x="647460" y="753964"/>
                  </a:lnTo>
                  <a:lnTo>
                    <a:pt x="644546" y="751121"/>
                  </a:lnTo>
                  <a:lnTo>
                    <a:pt x="643709" y="743381"/>
                  </a:lnTo>
                  <a:lnTo>
                    <a:pt x="645686" y="736894"/>
                  </a:lnTo>
                  <a:close/>
                  <a:moveTo>
                    <a:pt x="732041" y="723234"/>
                  </a:moveTo>
                  <a:lnTo>
                    <a:pt x="760523" y="726232"/>
                  </a:lnTo>
                  <a:lnTo>
                    <a:pt x="760381" y="730117"/>
                  </a:lnTo>
                  <a:lnTo>
                    <a:pt x="755570" y="729943"/>
                  </a:lnTo>
                  <a:lnTo>
                    <a:pt x="747833" y="734457"/>
                  </a:lnTo>
                  <a:lnTo>
                    <a:pt x="738224" y="738131"/>
                  </a:lnTo>
                  <a:lnTo>
                    <a:pt x="728495" y="738353"/>
                  </a:lnTo>
                  <a:lnTo>
                    <a:pt x="720428" y="732556"/>
                  </a:lnTo>
                  <a:lnTo>
                    <a:pt x="717180" y="736856"/>
                  </a:lnTo>
                  <a:lnTo>
                    <a:pt x="714122" y="739024"/>
                  </a:lnTo>
                  <a:lnTo>
                    <a:pt x="711264" y="738867"/>
                  </a:lnTo>
                  <a:lnTo>
                    <a:pt x="708745" y="736351"/>
                  </a:lnTo>
                  <a:lnTo>
                    <a:pt x="717739" y="725889"/>
                  </a:lnTo>
                  <a:close/>
                  <a:moveTo>
                    <a:pt x="789430" y="719738"/>
                  </a:moveTo>
                  <a:lnTo>
                    <a:pt x="794961" y="720465"/>
                  </a:lnTo>
                  <a:lnTo>
                    <a:pt x="799934" y="722243"/>
                  </a:lnTo>
                  <a:lnTo>
                    <a:pt x="808729" y="728061"/>
                  </a:lnTo>
                  <a:lnTo>
                    <a:pt x="805534" y="727324"/>
                  </a:lnTo>
                  <a:lnTo>
                    <a:pt x="801889" y="727688"/>
                  </a:lnTo>
                  <a:lnTo>
                    <a:pt x="787797" y="723871"/>
                  </a:lnTo>
                  <a:lnTo>
                    <a:pt x="781712" y="723983"/>
                  </a:lnTo>
                  <a:lnTo>
                    <a:pt x="780971" y="730850"/>
                  </a:lnTo>
                  <a:lnTo>
                    <a:pt x="774625" y="725922"/>
                  </a:lnTo>
                  <a:lnTo>
                    <a:pt x="776240" y="722347"/>
                  </a:lnTo>
                  <a:lnTo>
                    <a:pt x="782339" y="720304"/>
                  </a:lnTo>
                  <a:close/>
                  <a:moveTo>
                    <a:pt x="1993654" y="598074"/>
                  </a:moveTo>
                  <a:lnTo>
                    <a:pt x="2003758" y="602605"/>
                  </a:lnTo>
                  <a:lnTo>
                    <a:pt x="1994234" y="632524"/>
                  </a:lnTo>
                  <a:lnTo>
                    <a:pt x="1990750" y="637900"/>
                  </a:lnTo>
                  <a:lnTo>
                    <a:pt x="1986589" y="638097"/>
                  </a:lnTo>
                  <a:lnTo>
                    <a:pt x="1986260" y="634123"/>
                  </a:lnTo>
                  <a:lnTo>
                    <a:pt x="1988446" y="624112"/>
                  </a:lnTo>
                  <a:lnTo>
                    <a:pt x="1986874" y="617503"/>
                  </a:lnTo>
                  <a:lnTo>
                    <a:pt x="1984081" y="617472"/>
                  </a:lnTo>
                  <a:lnTo>
                    <a:pt x="1982316" y="622360"/>
                  </a:lnTo>
                  <a:lnTo>
                    <a:pt x="1983931" y="630201"/>
                  </a:lnTo>
                  <a:lnTo>
                    <a:pt x="1979061" y="634431"/>
                  </a:lnTo>
                  <a:lnTo>
                    <a:pt x="1973663" y="634225"/>
                  </a:lnTo>
                  <a:lnTo>
                    <a:pt x="1968197" y="631016"/>
                  </a:lnTo>
                  <a:lnTo>
                    <a:pt x="1962991" y="626571"/>
                  </a:lnTo>
                  <a:lnTo>
                    <a:pt x="1967772" y="613503"/>
                  </a:lnTo>
                  <a:lnTo>
                    <a:pt x="1979801" y="602851"/>
                  </a:lnTo>
                  <a:close/>
                  <a:moveTo>
                    <a:pt x="2042566" y="550916"/>
                  </a:moveTo>
                  <a:lnTo>
                    <a:pt x="2037021" y="559056"/>
                  </a:lnTo>
                  <a:lnTo>
                    <a:pt x="2021740" y="573580"/>
                  </a:lnTo>
                  <a:lnTo>
                    <a:pt x="2017457" y="582858"/>
                  </a:lnTo>
                  <a:lnTo>
                    <a:pt x="2015572" y="582887"/>
                  </a:lnTo>
                  <a:lnTo>
                    <a:pt x="2013583" y="572541"/>
                  </a:lnTo>
                  <a:lnTo>
                    <a:pt x="2013589" y="571190"/>
                  </a:lnTo>
                  <a:lnTo>
                    <a:pt x="2015327" y="566931"/>
                  </a:lnTo>
                  <a:lnTo>
                    <a:pt x="2037947" y="555551"/>
                  </a:lnTo>
                  <a:close/>
                  <a:moveTo>
                    <a:pt x="808318" y="492113"/>
                  </a:moveTo>
                  <a:lnTo>
                    <a:pt x="809407" y="495245"/>
                  </a:lnTo>
                  <a:lnTo>
                    <a:pt x="804068" y="496715"/>
                  </a:lnTo>
                  <a:lnTo>
                    <a:pt x="802406" y="493630"/>
                  </a:lnTo>
                  <a:close/>
                  <a:moveTo>
                    <a:pt x="796492" y="492073"/>
                  </a:moveTo>
                  <a:lnTo>
                    <a:pt x="798453" y="494424"/>
                  </a:lnTo>
                  <a:lnTo>
                    <a:pt x="799415" y="500324"/>
                  </a:lnTo>
                  <a:lnTo>
                    <a:pt x="797709" y="501544"/>
                  </a:lnTo>
                  <a:lnTo>
                    <a:pt x="797303" y="499155"/>
                  </a:lnTo>
                  <a:lnTo>
                    <a:pt x="795930" y="498666"/>
                  </a:lnTo>
                  <a:lnTo>
                    <a:pt x="794960" y="496070"/>
                  </a:lnTo>
                  <a:lnTo>
                    <a:pt x="793526" y="494252"/>
                  </a:lnTo>
                  <a:lnTo>
                    <a:pt x="791578" y="492320"/>
                  </a:lnTo>
                  <a:close/>
                  <a:moveTo>
                    <a:pt x="2771500" y="490343"/>
                  </a:moveTo>
                  <a:lnTo>
                    <a:pt x="2777912" y="492701"/>
                  </a:lnTo>
                  <a:lnTo>
                    <a:pt x="2781114" y="498096"/>
                  </a:lnTo>
                  <a:lnTo>
                    <a:pt x="2788812" y="516440"/>
                  </a:lnTo>
                  <a:lnTo>
                    <a:pt x="2793144" y="523643"/>
                  </a:lnTo>
                  <a:lnTo>
                    <a:pt x="2802467" y="532312"/>
                  </a:lnTo>
                  <a:lnTo>
                    <a:pt x="2825186" y="544199"/>
                  </a:lnTo>
                  <a:lnTo>
                    <a:pt x="2838084" y="548465"/>
                  </a:lnTo>
                  <a:lnTo>
                    <a:pt x="2848609" y="554379"/>
                  </a:lnTo>
                  <a:lnTo>
                    <a:pt x="2910967" y="616446"/>
                  </a:lnTo>
                  <a:lnTo>
                    <a:pt x="2916938" y="620425"/>
                  </a:lnTo>
                  <a:lnTo>
                    <a:pt x="2917134" y="620509"/>
                  </a:lnTo>
                  <a:lnTo>
                    <a:pt x="2917142" y="620510"/>
                  </a:lnTo>
                  <a:lnTo>
                    <a:pt x="2912233" y="636206"/>
                  </a:lnTo>
                  <a:lnTo>
                    <a:pt x="2909552" y="638269"/>
                  </a:lnTo>
                  <a:lnTo>
                    <a:pt x="2906402" y="639376"/>
                  </a:lnTo>
                  <a:lnTo>
                    <a:pt x="2912661" y="646334"/>
                  </a:lnTo>
                  <a:lnTo>
                    <a:pt x="2915844" y="655106"/>
                  </a:lnTo>
                  <a:lnTo>
                    <a:pt x="2877884" y="661465"/>
                  </a:lnTo>
                  <a:lnTo>
                    <a:pt x="2870317" y="660725"/>
                  </a:lnTo>
                  <a:lnTo>
                    <a:pt x="2864469" y="657011"/>
                  </a:lnTo>
                  <a:lnTo>
                    <a:pt x="2857077" y="666274"/>
                  </a:lnTo>
                  <a:lnTo>
                    <a:pt x="2847523" y="672522"/>
                  </a:lnTo>
                  <a:lnTo>
                    <a:pt x="2828444" y="678641"/>
                  </a:lnTo>
                  <a:lnTo>
                    <a:pt x="2807148" y="680006"/>
                  </a:lnTo>
                  <a:lnTo>
                    <a:pt x="2795129" y="677006"/>
                  </a:lnTo>
                  <a:lnTo>
                    <a:pt x="2788556" y="668811"/>
                  </a:lnTo>
                  <a:lnTo>
                    <a:pt x="2792838" y="666981"/>
                  </a:lnTo>
                  <a:lnTo>
                    <a:pt x="2799572" y="661285"/>
                  </a:lnTo>
                  <a:lnTo>
                    <a:pt x="2810312" y="658402"/>
                  </a:lnTo>
                  <a:lnTo>
                    <a:pt x="2821656" y="651082"/>
                  </a:lnTo>
                  <a:lnTo>
                    <a:pt x="2824613" y="647540"/>
                  </a:lnTo>
                  <a:lnTo>
                    <a:pt x="2826270" y="630922"/>
                  </a:lnTo>
                  <a:lnTo>
                    <a:pt x="2812635" y="607766"/>
                  </a:lnTo>
                  <a:lnTo>
                    <a:pt x="2812799" y="593083"/>
                  </a:lnTo>
                  <a:lnTo>
                    <a:pt x="2829768" y="593316"/>
                  </a:lnTo>
                  <a:lnTo>
                    <a:pt x="2835877" y="595514"/>
                  </a:lnTo>
                  <a:lnTo>
                    <a:pt x="2833790" y="599855"/>
                  </a:lnTo>
                  <a:lnTo>
                    <a:pt x="2834767" y="602998"/>
                  </a:lnTo>
                  <a:lnTo>
                    <a:pt x="2832638" y="614283"/>
                  </a:lnTo>
                  <a:lnTo>
                    <a:pt x="2832648" y="623368"/>
                  </a:lnTo>
                  <a:lnTo>
                    <a:pt x="2837436" y="613701"/>
                  </a:lnTo>
                  <a:lnTo>
                    <a:pt x="2841642" y="611168"/>
                  </a:lnTo>
                  <a:lnTo>
                    <a:pt x="2855209" y="610524"/>
                  </a:lnTo>
                  <a:lnTo>
                    <a:pt x="2853528" y="611983"/>
                  </a:lnTo>
                  <a:lnTo>
                    <a:pt x="2852235" y="613536"/>
                  </a:lnTo>
                  <a:lnTo>
                    <a:pt x="2851437" y="615672"/>
                  </a:lnTo>
                  <a:lnTo>
                    <a:pt x="2851078" y="618904"/>
                  </a:lnTo>
                  <a:lnTo>
                    <a:pt x="2862694" y="621895"/>
                  </a:lnTo>
                  <a:lnTo>
                    <a:pt x="2859611" y="614618"/>
                  </a:lnTo>
                  <a:lnTo>
                    <a:pt x="2863194" y="600368"/>
                  </a:lnTo>
                  <a:lnTo>
                    <a:pt x="2861822" y="585176"/>
                  </a:lnTo>
                  <a:lnTo>
                    <a:pt x="2856698" y="575903"/>
                  </a:lnTo>
                  <a:lnTo>
                    <a:pt x="2849105" y="579538"/>
                  </a:lnTo>
                  <a:lnTo>
                    <a:pt x="2845908" y="570376"/>
                  </a:lnTo>
                  <a:lnTo>
                    <a:pt x="2841867" y="562886"/>
                  </a:lnTo>
                  <a:lnTo>
                    <a:pt x="2837007" y="557044"/>
                  </a:lnTo>
                  <a:lnTo>
                    <a:pt x="2831475" y="553050"/>
                  </a:lnTo>
                  <a:lnTo>
                    <a:pt x="2824766" y="551767"/>
                  </a:lnTo>
                  <a:lnTo>
                    <a:pt x="2818153" y="553553"/>
                  </a:lnTo>
                  <a:lnTo>
                    <a:pt x="2814928" y="558088"/>
                  </a:lnTo>
                  <a:lnTo>
                    <a:pt x="2818279" y="565077"/>
                  </a:lnTo>
                  <a:lnTo>
                    <a:pt x="2818486" y="569330"/>
                  </a:lnTo>
                  <a:lnTo>
                    <a:pt x="2815698" y="571071"/>
                  </a:lnTo>
                  <a:lnTo>
                    <a:pt x="2812837" y="574726"/>
                  </a:lnTo>
                  <a:lnTo>
                    <a:pt x="2810595" y="579281"/>
                  </a:lnTo>
                  <a:lnTo>
                    <a:pt x="2809818" y="583581"/>
                  </a:lnTo>
                  <a:lnTo>
                    <a:pt x="2807827" y="584887"/>
                  </a:lnTo>
                  <a:lnTo>
                    <a:pt x="2796320" y="589903"/>
                  </a:lnTo>
                  <a:lnTo>
                    <a:pt x="2796663" y="582200"/>
                  </a:lnTo>
                  <a:lnTo>
                    <a:pt x="2798948" y="577341"/>
                  </a:lnTo>
                  <a:lnTo>
                    <a:pt x="2801463" y="573844"/>
                  </a:lnTo>
                  <a:lnTo>
                    <a:pt x="2802213" y="570105"/>
                  </a:lnTo>
                  <a:lnTo>
                    <a:pt x="2800130" y="563215"/>
                  </a:lnTo>
                  <a:lnTo>
                    <a:pt x="2797581" y="562567"/>
                  </a:lnTo>
                  <a:lnTo>
                    <a:pt x="2794789" y="564795"/>
                  </a:lnTo>
                  <a:lnTo>
                    <a:pt x="2784288" y="570107"/>
                  </a:lnTo>
                  <a:lnTo>
                    <a:pt x="2779659" y="576961"/>
                  </a:lnTo>
                  <a:lnTo>
                    <a:pt x="2775153" y="581851"/>
                  </a:lnTo>
                  <a:lnTo>
                    <a:pt x="2768282" y="579511"/>
                  </a:lnTo>
                  <a:lnTo>
                    <a:pt x="2770440" y="568326"/>
                  </a:lnTo>
                  <a:lnTo>
                    <a:pt x="2778669" y="549080"/>
                  </a:lnTo>
                  <a:lnTo>
                    <a:pt x="2779871" y="534046"/>
                  </a:lnTo>
                  <a:lnTo>
                    <a:pt x="2776511" y="525398"/>
                  </a:lnTo>
                  <a:lnTo>
                    <a:pt x="2762156" y="511595"/>
                  </a:lnTo>
                  <a:lnTo>
                    <a:pt x="2757717" y="505369"/>
                  </a:lnTo>
                  <a:lnTo>
                    <a:pt x="2760520" y="498767"/>
                  </a:lnTo>
                  <a:lnTo>
                    <a:pt x="2765409" y="493069"/>
                  </a:lnTo>
                  <a:close/>
                  <a:moveTo>
                    <a:pt x="1874377" y="310754"/>
                  </a:moveTo>
                  <a:lnTo>
                    <a:pt x="1902819" y="322752"/>
                  </a:lnTo>
                  <a:lnTo>
                    <a:pt x="1911388" y="329988"/>
                  </a:lnTo>
                  <a:lnTo>
                    <a:pt x="1914050" y="333448"/>
                  </a:lnTo>
                  <a:lnTo>
                    <a:pt x="1919352" y="343019"/>
                  </a:lnTo>
                  <a:lnTo>
                    <a:pt x="1939285" y="379892"/>
                  </a:lnTo>
                  <a:lnTo>
                    <a:pt x="1897353" y="373289"/>
                  </a:lnTo>
                  <a:lnTo>
                    <a:pt x="1891295" y="376840"/>
                  </a:lnTo>
                  <a:lnTo>
                    <a:pt x="1892809" y="379152"/>
                  </a:lnTo>
                  <a:lnTo>
                    <a:pt x="1894282" y="380160"/>
                  </a:lnTo>
                  <a:lnTo>
                    <a:pt x="1880908" y="381176"/>
                  </a:lnTo>
                  <a:lnTo>
                    <a:pt x="1872169" y="379793"/>
                  </a:lnTo>
                  <a:lnTo>
                    <a:pt x="1868359" y="375107"/>
                  </a:lnTo>
                  <a:lnTo>
                    <a:pt x="1868901" y="363471"/>
                  </a:lnTo>
                  <a:lnTo>
                    <a:pt x="1867316" y="359019"/>
                  </a:lnTo>
                  <a:lnTo>
                    <a:pt x="1862535" y="357270"/>
                  </a:lnTo>
                  <a:lnTo>
                    <a:pt x="1853818" y="357067"/>
                  </a:lnTo>
                  <a:lnTo>
                    <a:pt x="1850255" y="358238"/>
                  </a:lnTo>
                  <a:lnTo>
                    <a:pt x="1847793" y="361654"/>
                  </a:lnTo>
                  <a:lnTo>
                    <a:pt x="1845330" y="361674"/>
                  </a:lnTo>
                  <a:lnTo>
                    <a:pt x="1844185" y="357496"/>
                  </a:lnTo>
                  <a:lnTo>
                    <a:pt x="1843029" y="355133"/>
                  </a:lnTo>
                  <a:lnTo>
                    <a:pt x="1841242" y="355056"/>
                  </a:lnTo>
                  <a:lnTo>
                    <a:pt x="1837311" y="357551"/>
                  </a:lnTo>
                  <a:lnTo>
                    <a:pt x="1836327" y="349673"/>
                  </a:lnTo>
                  <a:lnTo>
                    <a:pt x="1845441" y="326501"/>
                  </a:lnTo>
                  <a:lnTo>
                    <a:pt x="1858356" y="313621"/>
                  </a:lnTo>
                  <a:close/>
                  <a:moveTo>
                    <a:pt x="1143376" y="309700"/>
                  </a:moveTo>
                  <a:lnTo>
                    <a:pt x="1157882" y="313886"/>
                  </a:lnTo>
                  <a:lnTo>
                    <a:pt x="1156327" y="314552"/>
                  </a:lnTo>
                  <a:lnTo>
                    <a:pt x="1155561" y="316258"/>
                  </a:lnTo>
                  <a:lnTo>
                    <a:pt x="1155346" y="318812"/>
                  </a:lnTo>
                  <a:lnTo>
                    <a:pt x="1155631" y="321982"/>
                  </a:lnTo>
                  <a:lnTo>
                    <a:pt x="1149399" y="327764"/>
                  </a:lnTo>
                  <a:lnTo>
                    <a:pt x="1145032" y="334723"/>
                  </a:lnTo>
                  <a:lnTo>
                    <a:pt x="1140081" y="341065"/>
                  </a:lnTo>
                  <a:lnTo>
                    <a:pt x="1132231" y="344923"/>
                  </a:lnTo>
                  <a:lnTo>
                    <a:pt x="1117761" y="345727"/>
                  </a:lnTo>
                  <a:lnTo>
                    <a:pt x="1110973" y="343089"/>
                  </a:lnTo>
                  <a:lnTo>
                    <a:pt x="1107441" y="336564"/>
                  </a:lnTo>
                  <a:lnTo>
                    <a:pt x="1111109" y="334692"/>
                  </a:lnTo>
                  <a:lnTo>
                    <a:pt x="1111777" y="331474"/>
                  </a:lnTo>
                  <a:lnTo>
                    <a:pt x="1110343" y="327974"/>
                  </a:lnTo>
                  <a:lnTo>
                    <a:pt x="1107700" y="325241"/>
                  </a:lnTo>
                  <a:lnTo>
                    <a:pt x="1118442" y="315309"/>
                  </a:lnTo>
                  <a:lnTo>
                    <a:pt x="1130232" y="310190"/>
                  </a:lnTo>
                  <a:close/>
                  <a:moveTo>
                    <a:pt x="1070654" y="291995"/>
                  </a:moveTo>
                  <a:lnTo>
                    <a:pt x="1071177" y="298196"/>
                  </a:lnTo>
                  <a:lnTo>
                    <a:pt x="1068160" y="312130"/>
                  </a:lnTo>
                  <a:lnTo>
                    <a:pt x="1060184" y="324154"/>
                  </a:lnTo>
                  <a:lnTo>
                    <a:pt x="1050588" y="329363"/>
                  </a:lnTo>
                  <a:lnTo>
                    <a:pt x="1043130" y="329038"/>
                  </a:lnTo>
                  <a:lnTo>
                    <a:pt x="1039010" y="325165"/>
                  </a:lnTo>
                  <a:lnTo>
                    <a:pt x="1035818" y="316825"/>
                  </a:lnTo>
                  <a:lnTo>
                    <a:pt x="1038110" y="307669"/>
                  </a:lnTo>
                  <a:lnTo>
                    <a:pt x="1044224" y="303167"/>
                  </a:lnTo>
                  <a:lnTo>
                    <a:pt x="1046684" y="302066"/>
                  </a:lnTo>
                  <a:lnTo>
                    <a:pt x="1049073" y="300589"/>
                  </a:lnTo>
                  <a:close/>
                  <a:moveTo>
                    <a:pt x="2542678" y="255117"/>
                  </a:moveTo>
                  <a:lnTo>
                    <a:pt x="2546421" y="255606"/>
                  </a:lnTo>
                  <a:lnTo>
                    <a:pt x="2548597" y="258877"/>
                  </a:lnTo>
                  <a:lnTo>
                    <a:pt x="2548787" y="265225"/>
                  </a:lnTo>
                  <a:lnTo>
                    <a:pt x="2548574" y="264605"/>
                  </a:lnTo>
                  <a:lnTo>
                    <a:pt x="2547585" y="263454"/>
                  </a:lnTo>
                  <a:lnTo>
                    <a:pt x="2546259" y="263364"/>
                  </a:lnTo>
                  <a:lnTo>
                    <a:pt x="2546557" y="271175"/>
                  </a:lnTo>
                  <a:lnTo>
                    <a:pt x="2544481" y="271252"/>
                  </a:lnTo>
                  <a:lnTo>
                    <a:pt x="2544036" y="259584"/>
                  </a:lnTo>
                  <a:lnTo>
                    <a:pt x="2536176" y="266580"/>
                  </a:lnTo>
                  <a:lnTo>
                    <a:pt x="2534615" y="275996"/>
                  </a:lnTo>
                  <a:lnTo>
                    <a:pt x="2534708" y="287072"/>
                  </a:lnTo>
                  <a:lnTo>
                    <a:pt x="2531969" y="299045"/>
                  </a:lnTo>
                  <a:lnTo>
                    <a:pt x="2529659" y="302318"/>
                  </a:lnTo>
                  <a:lnTo>
                    <a:pt x="2525114" y="306604"/>
                  </a:lnTo>
                  <a:lnTo>
                    <a:pt x="2523279" y="311095"/>
                  </a:lnTo>
                  <a:lnTo>
                    <a:pt x="2522298" y="316717"/>
                  </a:lnTo>
                  <a:lnTo>
                    <a:pt x="2521888" y="322459"/>
                  </a:lnTo>
                  <a:lnTo>
                    <a:pt x="2521877" y="334586"/>
                  </a:lnTo>
                  <a:lnTo>
                    <a:pt x="2519606" y="334668"/>
                  </a:lnTo>
                  <a:lnTo>
                    <a:pt x="2519317" y="326857"/>
                  </a:lnTo>
                  <a:lnTo>
                    <a:pt x="2519778" y="313690"/>
                  </a:lnTo>
                  <a:lnTo>
                    <a:pt x="2528773" y="275791"/>
                  </a:lnTo>
                  <a:lnTo>
                    <a:pt x="2530469" y="261249"/>
                  </a:lnTo>
                  <a:lnTo>
                    <a:pt x="2532744" y="257161"/>
                  </a:lnTo>
                  <a:lnTo>
                    <a:pt x="2538106" y="255521"/>
                  </a:lnTo>
                  <a:close/>
                  <a:moveTo>
                    <a:pt x="2633038" y="204438"/>
                  </a:moveTo>
                  <a:lnTo>
                    <a:pt x="2641951" y="208844"/>
                  </a:lnTo>
                  <a:lnTo>
                    <a:pt x="2642101" y="212376"/>
                  </a:lnTo>
                  <a:lnTo>
                    <a:pt x="2637190" y="216678"/>
                  </a:lnTo>
                  <a:lnTo>
                    <a:pt x="2630523" y="220909"/>
                  </a:lnTo>
                  <a:lnTo>
                    <a:pt x="2624743" y="226453"/>
                  </a:lnTo>
                  <a:lnTo>
                    <a:pt x="2622469" y="234648"/>
                  </a:lnTo>
                  <a:lnTo>
                    <a:pt x="2623886" y="244742"/>
                  </a:lnTo>
                  <a:lnTo>
                    <a:pt x="2627052" y="252738"/>
                  </a:lnTo>
                  <a:lnTo>
                    <a:pt x="2631681" y="258859"/>
                  </a:lnTo>
                  <a:lnTo>
                    <a:pt x="2637458" y="263348"/>
                  </a:lnTo>
                  <a:lnTo>
                    <a:pt x="2651488" y="267494"/>
                  </a:lnTo>
                  <a:lnTo>
                    <a:pt x="2694065" y="257390"/>
                  </a:lnTo>
                  <a:lnTo>
                    <a:pt x="2708952" y="259999"/>
                  </a:lnTo>
                  <a:lnTo>
                    <a:pt x="2719457" y="270663"/>
                  </a:lnTo>
                  <a:lnTo>
                    <a:pt x="2722313" y="285277"/>
                  </a:lnTo>
                  <a:lnTo>
                    <a:pt x="2714278" y="299490"/>
                  </a:lnTo>
                  <a:lnTo>
                    <a:pt x="2700006" y="310014"/>
                  </a:lnTo>
                  <a:lnTo>
                    <a:pt x="2693029" y="317443"/>
                  </a:lnTo>
                  <a:lnTo>
                    <a:pt x="2690291" y="325944"/>
                  </a:lnTo>
                  <a:lnTo>
                    <a:pt x="2691932" y="335492"/>
                  </a:lnTo>
                  <a:lnTo>
                    <a:pt x="2695295" y="345358"/>
                  </a:lnTo>
                  <a:lnTo>
                    <a:pt x="2699406" y="353702"/>
                  </a:lnTo>
                  <a:lnTo>
                    <a:pt x="2703096" y="358620"/>
                  </a:lnTo>
                  <a:lnTo>
                    <a:pt x="2710077" y="361899"/>
                  </a:lnTo>
                  <a:lnTo>
                    <a:pt x="2726005" y="365036"/>
                  </a:lnTo>
                  <a:lnTo>
                    <a:pt x="2733164" y="369724"/>
                  </a:lnTo>
                  <a:lnTo>
                    <a:pt x="2742770" y="385592"/>
                  </a:lnTo>
                  <a:lnTo>
                    <a:pt x="2748808" y="392818"/>
                  </a:lnTo>
                  <a:lnTo>
                    <a:pt x="2757115" y="395629"/>
                  </a:lnTo>
                  <a:lnTo>
                    <a:pt x="2752819" y="399039"/>
                  </a:lnTo>
                  <a:lnTo>
                    <a:pt x="2748733" y="404654"/>
                  </a:lnTo>
                  <a:lnTo>
                    <a:pt x="2745768" y="412216"/>
                  </a:lnTo>
                  <a:lnTo>
                    <a:pt x="2744897" y="421596"/>
                  </a:lnTo>
                  <a:lnTo>
                    <a:pt x="2745316" y="430660"/>
                  </a:lnTo>
                  <a:lnTo>
                    <a:pt x="2744449" y="434284"/>
                  </a:lnTo>
                  <a:lnTo>
                    <a:pt x="2740958" y="434093"/>
                  </a:lnTo>
                  <a:lnTo>
                    <a:pt x="2733564" y="431839"/>
                  </a:lnTo>
                  <a:lnTo>
                    <a:pt x="2737473" y="431664"/>
                  </a:lnTo>
                  <a:lnTo>
                    <a:pt x="2740488" y="429782"/>
                  </a:lnTo>
                  <a:lnTo>
                    <a:pt x="2741669" y="425886"/>
                  </a:lnTo>
                  <a:lnTo>
                    <a:pt x="2740031" y="419859"/>
                  </a:lnTo>
                  <a:lnTo>
                    <a:pt x="2737752" y="419962"/>
                  </a:lnTo>
                  <a:lnTo>
                    <a:pt x="2734503" y="423833"/>
                  </a:lnTo>
                  <a:lnTo>
                    <a:pt x="2729463" y="426014"/>
                  </a:lnTo>
                  <a:lnTo>
                    <a:pt x="2724092" y="426323"/>
                  </a:lnTo>
                  <a:lnTo>
                    <a:pt x="2719936" y="424621"/>
                  </a:lnTo>
                  <a:lnTo>
                    <a:pt x="2719762" y="420764"/>
                  </a:lnTo>
                  <a:lnTo>
                    <a:pt x="2731891" y="414867"/>
                  </a:lnTo>
                  <a:lnTo>
                    <a:pt x="2736830" y="410547"/>
                  </a:lnTo>
                  <a:lnTo>
                    <a:pt x="2739297" y="403914"/>
                  </a:lnTo>
                  <a:lnTo>
                    <a:pt x="2722024" y="405874"/>
                  </a:lnTo>
                  <a:lnTo>
                    <a:pt x="2714405" y="408656"/>
                  </a:lnTo>
                  <a:lnTo>
                    <a:pt x="2708016" y="413456"/>
                  </a:lnTo>
                  <a:lnTo>
                    <a:pt x="2725818" y="399676"/>
                  </a:lnTo>
                  <a:lnTo>
                    <a:pt x="2731960" y="396768"/>
                  </a:lnTo>
                  <a:lnTo>
                    <a:pt x="2731782" y="392864"/>
                  </a:lnTo>
                  <a:lnTo>
                    <a:pt x="2722798" y="392404"/>
                  </a:lnTo>
                  <a:lnTo>
                    <a:pt x="2718158" y="393075"/>
                  </a:lnTo>
                  <a:lnTo>
                    <a:pt x="2715011" y="395565"/>
                  </a:lnTo>
                  <a:lnTo>
                    <a:pt x="2710748" y="401040"/>
                  </a:lnTo>
                  <a:lnTo>
                    <a:pt x="2707870" y="399861"/>
                  </a:lnTo>
                  <a:lnTo>
                    <a:pt x="2705126" y="396208"/>
                  </a:lnTo>
                  <a:lnTo>
                    <a:pt x="2701262" y="394211"/>
                  </a:lnTo>
                  <a:lnTo>
                    <a:pt x="2668253" y="399537"/>
                  </a:lnTo>
                  <a:lnTo>
                    <a:pt x="2662451" y="403577"/>
                  </a:lnTo>
                  <a:lnTo>
                    <a:pt x="2645482" y="419929"/>
                  </a:lnTo>
                  <a:lnTo>
                    <a:pt x="2642014" y="426033"/>
                  </a:lnTo>
                  <a:lnTo>
                    <a:pt x="2638497" y="434930"/>
                  </a:lnTo>
                  <a:lnTo>
                    <a:pt x="2630395" y="436984"/>
                  </a:lnTo>
                  <a:lnTo>
                    <a:pt x="2623222" y="441137"/>
                  </a:lnTo>
                  <a:lnTo>
                    <a:pt x="2622544" y="456462"/>
                  </a:lnTo>
                  <a:lnTo>
                    <a:pt x="2626949" y="452373"/>
                  </a:lnTo>
                  <a:lnTo>
                    <a:pt x="2626911" y="449465"/>
                  </a:lnTo>
                  <a:lnTo>
                    <a:pt x="2626174" y="448750"/>
                  </a:lnTo>
                  <a:lnTo>
                    <a:pt x="2625249" y="448740"/>
                  </a:lnTo>
                  <a:lnTo>
                    <a:pt x="2624682" y="448204"/>
                  </a:lnTo>
                  <a:lnTo>
                    <a:pt x="2640513" y="444767"/>
                  </a:lnTo>
                  <a:lnTo>
                    <a:pt x="2642838" y="445720"/>
                  </a:lnTo>
                  <a:lnTo>
                    <a:pt x="2645830" y="458660"/>
                  </a:lnTo>
                  <a:lnTo>
                    <a:pt x="2645402" y="464685"/>
                  </a:lnTo>
                  <a:lnTo>
                    <a:pt x="2640236" y="467481"/>
                  </a:lnTo>
                  <a:lnTo>
                    <a:pt x="2630630" y="466359"/>
                  </a:lnTo>
                  <a:lnTo>
                    <a:pt x="2619900" y="463019"/>
                  </a:lnTo>
                  <a:lnTo>
                    <a:pt x="2607732" y="455679"/>
                  </a:lnTo>
                  <a:lnTo>
                    <a:pt x="2610273" y="452551"/>
                  </a:lnTo>
                  <a:lnTo>
                    <a:pt x="2611793" y="445739"/>
                  </a:lnTo>
                  <a:lnTo>
                    <a:pt x="2614887" y="436861"/>
                  </a:lnTo>
                  <a:lnTo>
                    <a:pt x="2610118" y="439984"/>
                  </a:lnTo>
                  <a:lnTo>
                    <a:pt x="2608010" y="442351"/>
                  </a:lnTo>
                  <a:lnTo>
                    <a:pt x="2606093" y="445406"/>
                  </a:lnTo>
                  <a:lnTo>
                    <a:pt x="2607488" y="446934"/>
                  </a:lnTo>
                  <a:lnTo>
                    <a:pt x="2608517" y="448849"/>
                  </a:lnTo>
                  <a:lnTo>
                    <a:pt x="2601809" y="448485"/>
                  </a:lnTo>
                  <a:lnTo>
                    <a:pt x="2598333" y="449343"/>
                  </a:lnTo>
                  <a:lnTo>
                    <a:pt x="2595970" y="451486"/>
                  </a:lnTo>
                  <a:lnTo>
                    <a:pt x="2593044" y="453182"/>
                  </a:lnTo>
                  <a:lnTo>
                    <a:pt x="2589639" y="451055"/>
                  </a:lnTo>
                  <a:lnTo>
                    <a:pt x="2586437" y="447850"/>
                  </a:lnTo>
                  <a:lnTo>
                    <a:pt x="2584253" y="446259"/>
                  </a:lnTo>
                  <a:lnTo>
                    <a:pt x="2579326" y="445516"/>
                  </a:lnTo>
                  <a:lnTo>
                    <a:pt x="2573320" y="442882"/>
                  </a:lnTo>
                  <a:lnTo>
                    <a:pt x="2569490" y="438117"/>
                  </a:lnTo>
                  <a:lnTo>
                    <a:pt x="2571080" y="430745"/>
                  </a:lnTo>
                  <a:lnTo>
                    <a:pt x="2566164" y="429465"/>
                  </a:lnTo>
                  <a:lnTo>
                    <a:pt x="2556149" y="434871"/>
                  </a:lnTo>
                  <a:lnTo>
                    <a:pt x="2552825" y="435392"/>
                  </a:lnTo>
                  <a:lnTo>
                    <a:pt x="2550376" y="431059"/>
                  </a:lnTo>
                  <a:lnTo>
                    <a:pt x="2552265" y="427124"/>
                  </a:lnTo>
                  <a:lnTo>
                    <a:pt x="2556652" y="425283"/>
                  </a:lnTo>
                  <a:lnTo>
                    <a:pt x="2561810" y="427233"/>
                  </a:lnTo>
                  <a:lnTo>
                    <a:pt x="2561672" y="423652"/>
                  </a:lnTo>
                  <a:lnTo>
                    <a:pt x="2540392" y="408497"/>
                  </a:lnTo>
                  <a:lnTo>
                    <a:pt x="2544511" y="396053"/>
                  </a:lnTo>
                  <a:lnTo>
                    <a:pt x="2550686" y="385697"/>
                  </a:lnTo>
                  <a:lnTo>
                    <a:pt x="2558992" y="381544"/>
                  </a:lnTo>
                  <a:lnTo>
                    <a:pt x="2569412" y="387854"/>
                  </a:lnTo>
                  <a:lnTo>
                    <a:pt x="2571536" y="383862"/>
                  </a:lnTo>
                  <a:lnTo>
                    <a:pt x="2575558" y="387480"/>
                  </a:lnTo>
                  <a:lnTo>
                    <a:pt x="2580131" y="386466"/>
                  </a:lnTo>
                  <a:lnTo>
                    <a:pt x="2589750" y="379273"/>
                  </a:lnTo>
                  <a:lnTo>
                    <a:pt x="2584499" y="378894"/>
                  </a:lnTo>
                  <a:lnTo>
                    <a:pt x="2580393" y="375211"/>
                  </a:lnTo>
                  <a:lnTo>
                    <a:pt x="2578549" y="369695"/>
                  </a:lnTo>
                  <a:lnTo>
                    <a:pt x="2579858" y="363685"/>
                  </a:lnTo>
                  <a:lnTo>
                    <a:pt x="2579716" y="360105"/>
                  </a:lnTo>
                  <a:lnTo>
                    <a:pt x="2575152" y="359837"/>
                  </a:lnTo>
                  <a:lnTo>
                    <a:pt x="2572581" y="357166"/>
                  </a:lnTo>
                  <a:lnTo>
                    <a:pt x="2570349" y="354154"/>
                  </a:lnTo>
                  <a:lnTo>
                    <a:pt x="2566909" y="352819"/>
                  </a:lnTo>
                  <a:lnTo>
                    <a:pt x="2552285" y="357282"/>
                  </a:lnTo>
                  <a:lnTo>
                    <a:pt x="2557591" y="345164"/>
                  </a:lnTo>
                  <a:lnTo>
                    <a:pt x="2559961" y="342001"/>
                  </a:lnTo>
                  <a:lnTo>
                    <a:pt x="2568853" y="339429"/>
                  </a:lnTo>
                  <a:lnTo>
                    <a:pt x="2578676" y="333720"/>
                  </a:lnTo>
                  <a:lnTo>
                    <a:pt x="2585440" y="332201"/>
                  </a:lnTo>
                  <a:lnTo>
                    <a:pt x="2585284" y="328296"/>
                  </a:lnTo>
                  <a:lnTo>
                    <a:pt x="2585685" y="328165"/>
                  </a:lnTo>
                  <a:lnTo>
                    <a:pt x="2587667" y="326946"/>
                  </a:lnTo>
                  <a:lnTo>
                    <a:pt x="2589643" y="324215"/>
                  </a:lnTo>
                  <a:lnTo>
                    <a:pt x="2580286" y="321016"/>
                  </a:lnTo>
                  <a:lnTo>
                    <a:pt x="2576154" y="318476"/>
                  </a:lnTo>
                  <a:lnTo>
                    <a:pt x="2573334" y="313510"/>
                  </a:lnTo>
                  <a:lnTo>
                    <a:pt x="2574416" y="312117"/>
                  </a:lnTo>
                  <a:lnTo>
                    <a:pt x="2575431" y="311101"/>
                  </a:lnTo>
                  <a:lnTo>
                    <a:pt x="2575926" y="309242"/>
                  </a:lnTo>
                  <a:lnTo>
                    <a:pt x="2575470" y="305232"/>
                  </a:lnTo>
                  <a:lnTo>
                    <a:pt x="2565846" y="309488"/>
                  </a:lnTo>
                  <a:lnTo>
                    <a:pt x="2559930" y="310389"/>
                  </a:lnTo>
                  <a:lnTo>
                    <a:pt x="2557210" y="307883"/>
                  </a:lnTo>
                  <a:lnTo>
                    <a:pt x="2556410" y="306098"/>
                  </a:lnTo>
                  <a:lnTo>
                    <a:pt x="2554854" y="305713"/>
                  </a:lnTo>
                  <a:lnTo>
                    <a:pt x="2553264" y="304446"/>
                  </a:lnTo>
                  <a:lnTo>
                    <a:pt x="2552366" y="300080"/>
                  </a:lnTo>
                  <a:lnTo>
                    <a:pt x="2551771" y="295144"/>
                  </a:lnTo>
                  <a:lnTo>
                    <a:pt x="2550416" y="292216"/>
                  </a:lnTo>
                  <a:lnTo>
                    <a:pt x="2548207" y="290995"/>
                  </a:lnTo>
                  <a:lnTo>
                    <a:pt x="2545239" y="291128"/>
                  </a:lnTo>
                  <a:lnTo>
                    <a:pt x="2552707" y="287147"/>
                  </a:lnTo>
                  <a:lnTo>
                    <a:pt x="2577949" y="282414"/>
                  </a:lnTo>
                  <a:lnTo>
                    <a:pt x="2583502" y="283456"/>
                  </a:lnTo>
                  <a:lnTo>
                    <a:pt x="2585419" y="286804"/>
                  </a:lnTo>
                  <a:lnTo>
                    <a:pt x="2589340" y="288211"/>
                  </a:lnTo>
                  <a:lnTo>
                    <a:pt x="2593344" y="290988"/>
                  </a:lnTo>
                  <a:lnTo>
                    <a:pt x="2595427" y="298425"/>
                  </a:lnTo>
                  <a:lnTo>
                    <a:pt x="2596994" y="302439"/>
                  </a:lnTo>
                  <a:lnTo>
                    <a:pt x="2599446" y="300201"/>
                  </a:lnTo>
                  <a:lnTo>
                    <a:pt x="2600424" y="293642"/>
                  </a:lnTo>
                  <a:lnTo>
                    <a:pt x="2597340" y="284870"/>
                  </a:lnTo>
                  <a:lnTo>
                    <a:pt x="2601847" y="278057"/>
                  </a:lnTo>
                  <a:lnTo>
                    <a:pt x="2607630" y="271471"/>
                  </a:lnTo>
                  <a:lnTo>
                    <a:pt x="2613689" y="266433"/>
                  </a:lnTo>
                  <a:lnTo>
                    <a:pt x="2619182" y="264093"/>
                  </a:lnTo>
                  <a:lnTo>
                    <a:pt x="2615968" y="275886"/>
                  </a:lnTo>
                  <a:lnTo>
                    <a:pt x="2613693" y="281007"/>
                  </a:lnTo>
                  <a:lnTo>
                    <a:pt x="2610938" y="284330"/>
                  </a:lnTo>
                  <a:lnTo>
                    <a:pt x="2613040" y="284176"/>
                  </a:lnTo>
                  <a:lnTo>
                    <a:pt x="2614862" y="284452"/>
                  </a:lnTo>
                  <a:lnTo>
                    <a:pt x="2616508" y="285713"/>
                  </a:lnTo>
                  <a:lnTo>
                    <a:pt x="2618101" y="288303"/>
                  </a:lnTo>
                  <a:lnTo>
                    <a:pt x="2616540" y="291090"/>
                  </a:lnTo>
                  <a:lnTo>
                    <a:pt x="2613830" y="299489"/>
                  </a:lnTo>
                  <a:lnTo>
                    <a:pt x="2618621" y="299598"/>
                  </a:lnTo>
                  <a:lnTo>
                    <a:pt x="2622396" y="298048"/>
                  </a:lnTo>
                  <a:lnTo>
                    <a:pt x="2625216" y="294326"/>
                  </a:lnTo>
                  <a:lnTo>
                    <a:pt x="2626952" y="287945"/>
                  </a:lnTo>
                  <a:lnTo>
                    <a:pt x="2624111" y="287222"/>
                  </a:lnTo>
                  <a:lnTo>
                    <a:pt x="2620847" y="284770"/>
                  </a:lnTo>
                  <a:lnTo>
                    <a:pt x="2617926" y="284050"/>
                  </a:lnTo>
                  <a:lnTo>
                    <a:pt x="2617765" y="280145"/>
                  </a:lnTo>
                  <a:lnTo>
                    <a:pt x="2622093" y="275709"/>
                  </a:lnTo>
                  <a:lnTo>
                    <a:pt x="2626106" y="283208"/>
                  </a:lnTo>
                  <a:lnTo>
                    <a:pt x="2632271" y="290406"/>
                  </a:lnTo>
                  <a:lnTo>
                    <a:pt x="2636512" y="298056"/>
                  </a:lnTo>
                  <a:lnTo>
                    <a:pt x="2634742" y="306790"/>
                  </a:lnTo>
                  <a:lnTo>
                    <a:pt x="2641706" y="316049"/>
                  </a:lnTo>
                  <a:lnTo>
                    <a:pt x="2650100" y="318706"/>
                  </a:lnTo>
                  <a:lnTo>
                    <a:pt x="2667184" y="317549"/>
                  </a:lnTo>
                  <a:lnTo>
                    <a:pt x="2664540" y="313375"/>
                  </a:lnTo>
                  <a:lnTo>
                    <a:pt x="2667401" y="305686"/>
                  </a:lnTo>
                  <a:lnTo>
                    <a:pt x="2668919" y="303247"/>
                  </a:lnTo>
                  <a:lnTo>
                    <a:pt x="2671028" y="301365"/>
                  </a:lnTo>
                  <a:lnTo>
                    <a:pt x="2670844" y="297136"/>
                  </a:lnTo>
                  <a:lnTo>
                    <a:pt x="2667909" y="289319"/>
                  </a:lnTo>
                  <a:lnTo>
                    <a:pt x="2665926" y="285329"/>
                  </a:lnTo>
                  <a:lnTo>
                    <a:pt x="2663195" y="282183"/>
                  </a:lnTo>
                  <a:lnTo>
                    <a:pt x="2663026" y="278279"/>
                  </a:lnTo>
                  <a:lnTo>
                    <a:pt x="2664906" y="276756"/>
                  </a:lnTo>
                  <a:lnTo>
                    <a:pt x="2665933" y="275502"/>
                  </a:lnTo>
                  <a:lnTo>
                    <a:pt x="2667239" y="274468"/>
                  </a:lnTo>
                  <a:lnTo>
                    <a:pt x="2669828" y="273730"/>
                  </a:lnTo>
                  <a:lnTo>
                    <a:pt x="2669675" y="270222"/>
                  </a:lnTo>
                  <a:lnTo>
                    <a:pt x="2665560" y="270628"/>
                  </a:lnTo>
                  <a:lnTo>
                    <a:pt x="2662997" y="273205"/>
                  </a:lnTo>
                  <a:lnTo>
                    <a:pt x="2661024" y="276337"/>
                  </a:lnTo>
                  <a:lnTo>
                    <a:pt x="2658684" y="278461"/>
                  </a:lnTo>
                  <a:lnTo>
                    <a:pt x="2655123" y="279239"/>
                  </a:lnTo>
                  <a:lnTo>
                    <a:pt x="2643714" y="279085"/>
                  </a:lnTo>
                  <a:lnTo>
                    <a:pt x="2641857" y="277346"/>
                  </a:lnTo>
                  <a:lnTo>
                    <a:pt x="2639906" y="273375"/>
                  </a:lnTo>
                  <a:lnTo>
                    <a:pt x="2637471" y="269424"/>
                  </a:lnTo>
                  <a:lnTo>
                    <a:pt x="2634240" y="267741"/>
                  </a:lnTo>
                  <a:lnTo>
                    <a:pt x="2629208" y="266877"/>
                  </a:lnTo>
                  <a:lnTo>
                    <a:pt x="2627041" y="264123"/>
                  </a:lnTo>
                  <a:lnTo>
                    <a:pt x="2625754" y="260452"/>
                  </a:lnTo>
                  <a:lnTo>
                    <a:pt x="2623376" y="256497"/>
                  </a:lnTo>
                  <a:lnTo>
                    <a:pt x="2619287" y="250957"/>
                  </a:lnTo>
                  <a:lnTo>
                    <a:pt x="2618464" y="248685"/>
                  </a:lnTo>
                  <a:lnTo>
                    <a:pt x="2614172" y="252584"/>
                  </a:lnTo>
                  <a:lnTo>
                    <a:pt x="2611699" y="255431"/>
                  </a:lnTo>
                  <a:lnTo>
                    <a:pt x="2606666" y="263058"/>
                  </a:lnTo>
                  <a:lnTo>
                    <a:pt x="2599093" y="268086"/>
                  </a:lnTo>
                  <a:lnTo>
                    <a:pt x="2593706" y="274467"/>
                  </a:lnTo>
                  <a:lnTo>
                    <a:pt x="2587898" y="279188"/>
                  </a:lnTo>
                  <a:lnTo>
                    <a:pt x="2581179" y="277330"/>
                  </a:lnTo>
                  <a:lnTo>
                    <a:pt x="2579751" y="270611"/>
                  </a:lnTo>
                  <a:lnTo>
                    <a:pt x="2581678" y="259990"/>
                  </a:lnTo>
                  <a:lnTo>
                    <a:pt x="2585606" y="250177"/>
                  </a:lnTo>
                  <a:lnTo>
                    <a:pt x="2590094" y="245717"/>
                  </a:lnTo>
                  <a:lnTo>
                    <a:pt x="2590994" y="243262"/>
                  </a:lnTo>
                  <a:lnTo>
                    <a:pt x="2592204" y="237812"/>
                  </a:lnTo>
                  <a:lnTo>
                    <a:pt x="2592717" y="232460"/>
                  </a:lnTo>
                  <a:lnTo>
                    <a:pt x="2591650" y="230057"/>
                  </a:lnTo>
                  <a:lnTo>
                    <a:pt x="2577025" y="234493"/>
                  </a:lnTo>
                  <a:lnTo>
                    <a:pt x="2572312" y="238073"/>
                  </a:lnTo>
                  <a:lnTo>
                    <a:pt x="2570160" y="237527"/>
                  </a:lnTo>
                  <a:lnTo>
                    <a:pt x="2570088" y="230895"/>
                  </a:lnTo>
                  <a:lnTo>
                    <a:pt x="2571794" y="226966"/>
                  </a:lnTo>
                  <a:lnTo>
                    <a:pt x="2575142" y="223018"/>
                  </a:lnTo>
                  <a:lnTo>
                    <a:pt x="2579010" y="219983"/>
                  </a:lnTo>
                  <a:lnTo>
                    <a:pt x="2623821" y="204954"/>
                  </a:lnTo>
                  <a:close/>
                  <a:moveTo>
                    <a:pt x="960995" y="199762"/>
                  </a:moveTo>
                  <a:lnTo>
                    <a:pt x="961022" y="202507"/>
                  </a:lnTo>
                  <a:lnTo>
                    <a:pt x="960493" y="203120"/>
                  </a:lnTo>
                  <a:lnTo>
                    <a:pt x="959556" y="202953"/>
                  </a:lnTo>
                  <a:lnTo>
                    <a:pt x="958622" y="203603"/>
                  </a:lnTo>
                  <a:lnTo>
                    <a:pt x="954854" y="207264"/>
                  </a:lnTo>
                  <a:lnTo>
                    <a:pt x="951389" y="211515"/>
                  </a:lnTo>
                  <a:lnTo>
                    <a:pt x="967000" y="243215"/>
                  </a:lnTo>
                  <a:lnTo>
                    <a:pt x="973201" y="246927"/>
                  </a:lnTo>
                  <a:lnTo>
                    <a:pt x="968563" y="250706"/>
                  </a:lnTo>
                  <a:lnTo>
                    <a:pt x="957181" y="254477"/>
                  </a:lnTo>
                  <a:lnTo>
                    <a:pt x="949631" y="247138"/>
                  </a:lnTo>
                  <a:lnTo>
                    <a:pt x="943723" y="235564"/>
                  </a:lnTo>
                  <a:lnTo>
                    <a:pt x="937425" y="226395"/>
                  </a:lnTo>
                  <a:lnTo>
                    <a:pt x="947547" y="208588"/>
                  </a:lnTo>
                  <a:lnTo>
                    <a:pt x="953657" y="202225"/>
                  </a:lnTo>
                  <a:close/>
                  <a:moveTo>
                    <a:pt x="1006973" y="177250"/>
                  </a:moveTo>
                  <a:lnTo>
                    <a:pt x="1025315" y="178850"/>
                  </a:lnTo>
                  <a:lnTo>
                    <a:pt x="1032688" y="183647"/>
                  </a:lnTo>
                  <a:lnTo>
                    <a:pt x="1038306" y="194030"/>
                  </a:lnTo>
                  <a:lnTo>
                    <a:pt x="1038204" y="197936"/>
                  </a:lnTo>
                  <a:lnTo>
                    <a:pt x="1035342" y="202471"/>
                  </a:lnTo>
                  <a:lnTo>
                    <a:pt x="1031289" y="213348"/>
                  </a:lnTo>
                  <a:lnTo>
                    <a:pt x="1028442" y="217184"/>
                  </a:lnTo>
                  <a:lnTo>
                    <a:pt x="1023883" y="218532"/>
                  </a:lnTo>
                  <a:lnTo>
                    <a:pt x="1018305" y="217713"/>
                  </a:lnTo>
                  <a:lnTo>
                    <a:pt x="1013300" y="215626"/>
                  </a:lnTo>
                  <a:lnTo>
                    <a:pt x="1010513" y="213155"/>
                  </a:lnTo>
                  <a:lnTo>
                    <a:pt x="1001815" y="216204"/>
                  </a:lnTo>
                  <a:lnTo>
                    <a:pt x="991200" y="212613"/>
                  </a:lnTo>
                  <a:lnTo>
                    <a:pt x="972286" y="200082"/>
                  </a:lnTo>
                  <a:lnTo>
                    <a:pt x="979134" y="188288"/>
                  </a:lnTo>
                  <a:lnTo>
                    <a:pt x="986782" y="181240"/>
                  </a:lnTo>
                  <a:lnTo>
                    <a:pt x="995908" y="177883"/>
                  </a:lnTo>
                  <a:close/>
                  <a:moveTo>
                    <a:pt x="1116743" y="94462"/>
                  </a:moveTo>
                  <a:lnTo>
                    <a:pt x="1142919" y="99579"/>
                  </a:lnTo>
                  <a:lnTo>
                    <a:pt x="1168539" y="110743"/>
                  </a:lnTo>
                  <a:lnTo>
                    <a:pt x="1238048" y="128578"/>
                  </a:lnTo>
                  <a:lnTo>
                    <a:pt x="1243477" y="133575"/>
                  </a:lnTo>
                  <a:lnTo>
                    <a:pt x="1244876" y="139358"/>
                  </a:lnTo>
                  <a:lnTo>
                    <a:pt x="1245727" y="147350"/>
                  </a:lnTo>
                  <a:lnTo>
                    <a:pt x="1248029" y="154182"/>
                  </a:lnTo>
                  <a:lnTo>
                    <a:pt x="1253817" y="156642"/>
                  </a:lnTo>
                  <a:lnTo>
                    <a:pt x="1277877" y="157115"/>
                  </a:lnTo>
                  <a:lnTo>
                    <a:pt x="1282833" y="156275"/>
                  </a:lnTo>
                  <a:lnTo>
                    <a:pt x="1286088" y="152985"/>
                  </a:lnTo>
                  <a:lnTo>
                    <a:pt x="1290811" y="151756"/>
                  </a:lnTo>
                  <a:lnTo>
                    <a:pt x="1294472" y="148561"/>
                  </a:lnTo>
                  <a:lnTo>
                    <a:pt x="1300454" y="147290"/>
                  </a:lnTo>
                  <a:lnTo>
                    <a:pt x="1307006" y="153675"/>
                  </a:lnTo>
                  <a:lnTo>
                    <a:pt x="1312585" y="154404"/>
                  </a:lnTo>
                  <a:lnTo>
                    <a:pt x="1317482" y="152819"/>
                  </a:lnTo>
                  <a:lnTo>
                    <a:pt x="1317675" y="152669"/>
                  </a:lnTo>
                  <a:lnTo>
                    <a:pt x="1317678" y="152669"/>
                  </a:lnTo>
                  <a:lnTo>
                    <a:pt x="1322266" y="152754"/>
                  </a:lnTo>
                  <a:lnTo>
                    <a:pt x="1342037" y="143035"/>
                  </a:lnTo>
                  <a:lnTo>
                    <a:pt x="1348387" y="135299"/>
                  </a:lnTo>
                  <a:lnTo>
                    <a:pt x="1356470" y="132189"/>
                  </a:lnTo>
                  <a:lnTo>
                    <a:pt x="1360690" y="124774"/>
                  </a:lnTo>
                  <a:lnTo>
                    <a:pt x="1365020" y="121336"/>
                  </a:lnTo>
                  <a:lnTo>
                    <a:pt x="1365844" y="141931"/>
                  </a:lnTo>
                  <a:lnTo>
                    <a:pt x="1381734" y="148044"/>
                  </a:lnTo>
                  <a:lnTo>
                    <a:pt x="1401976" y="149331"/>
                  </a:lnTo>
                  <a:lnTo>
                    <a:pt x="1415625" y="155583"/>
                  </a:lnTo>
                  <a:lnTo>
                    <a:pt x="1421352" y="160034"/>
                  </a:lnTo>
                  <a:lnTo>
                    <a:pt x="1429879" y="163812"/>
                  </a:lnTo>
                  <a:lnTo>
                    <a:pt x="1437641" y="169463"/>
                  </a:lnTo>
                  <a:lnTo>
                    <a:pt x="1440991" y="179401"/>
                  </a:lnTo>
                  <a:lnTo>
                    <a:pt x="1444759" y="184760"/>
                  </a:lnTo>
                  <a:lnTo>
                    <a:pt x="1453396" y="183342"/>
                  </a:lnTo>
                  <a:lnTo>
                    <a:pt x="1468459" y="177668"/>
                  </a:lnTo>
                  <a:lnTo>
                    <a:pt x="1467261" y="165774"/>
                  </a:lnTo>
                  <a:lnTo>
                    <a:pt x="1475051" y="165295"/>
                  </a:lnTo>
                  <a:lnTo>
                    <a:pt x="1485716" y="172047"/>
                  </a:lnTo>
                  <a:lnTo>
                    <a:pt x="1493225" y="181747"/>
                  </a:lnTo>
                  <a:lnTo>
                    <a:pt x="1497614" y="201292"/>
                  </a:lnTo>
                  <a:lnTo>
                    <a:pt x="1499682" y="205862"/>
                  </a:lnTo>
                  <a:lnTo>
                    <a:pt x="1502641" y="210206"/>
                  </a:lnTo>
                  <a:lnTo>
                    <a:pt x="1508788" y="216941"/>
                  </a:lnTo>
                  <a:lnTo>
                    <a:pt x="1504517" y="220196"/>
                  </a:lnTo>
                  <a:lnTo>
                    <a:pt x="1500161" y="219611"/>
                  </a:lnTo>
                  <a:lnTo>
                    <a:pt x="1496083" y="217702"/>
                  </a:lnTo>
                  <a:lnTo>
                    <a:pt x="1492994" y="216845"/>
                  </a:lnTo>
                  <a:lnTo>
                    <a:pt x="1493174" y="218102"/>
                  </a:lnTo>
                  <a:lnTo>
                    <a:pt x="1484950" y="224561"/>
                  </a:lnTo>
                  <a:lnTo>
                    <a:pt x="1483899" y="224600"/>
                  </a:lnTo>
                  <a:lnTo>
                    <a:pt x="1481763" y="226051"/>
                  </a:lnTo>
                  <a:lnTo>
                    <a:pt x="1480337" y="225901"/>
                  </a:lnTo>
                  <a:lnTo>
                    <a:pt x="1479521" y="227130"/>
                  </a:lnTo>
                  <a:lnTo>
                    <a:pt x="1479322" y="232384"/>
                  </a:lnTo>
                  <a:lnTo>
                    <a:pt x="1484166" y="232744"/>
                  </a:lnTo>
                  <a:lnTo>
                    <a:pt x="1492825" y="230172"/>
                  </a:lnTo>
                  <a:lnTo>
                    <a:pt x="1501470" y="229737"/>
                  </a:lnTo>
                  <a:lnTo>
                    <a:pt x="1506410" y="236466"/>
                  </a:lnTo>
                  <a:lnTo>
                    <a:pt x="1509982" y="233416"/>
                  </a:lnTo>
                  <a:lnTo>
                    <a:pt x="1513754" y="233158"/>
                  </a:lnTo>
                  <a:lnTo>
                    <a:pt x="1515565" y="236657"/>
                  </a:lnTo>
                  <a:lnTo>
                    <a:pt x="1513149" y="244669"/>
                  </a:lnTo>
                  <a:lnTo>
                    <a:pt x="1514774" y="252611"/>
                  </a:lnTo>
                  <a:lnTo>
                    <a:pt x="1514926" y="263938"/>
                  </a:lnTo>
                  <a:lnTo>
                    <a:pt x="1512904" y="287583"/>
                  </a:lnTo>
                  <a:lnTo>
                    <a:pt x="1511172" y="297715"/>
                  </a:lnTo>
                  <a:lnTo>
                    <a:pt x="1508857" y="305773"/>
                  </a:lnTo>
                  <a:lnTo>
                    <a:pt x="1505631" y="312338"/>
                  </a:lnTo>
                  <a:lnTo>
                    <a:pt x="1501406" y="318407"/>
                  </a:lnTo>
                  <a:lnTo>
                    <a:pt x="1490639" y="328341"/>
                  </a:lnTo>
                  <a:lnTo>
                    <a:pt x="1477203" y="335717"/>
                  </a:lnTo>
                  <a:lnTo>
                    <a:pt x="1462781" y="340334"/>
                  </a:lnTo>
                  <a:lnTo>
                    <a:pt x="1448838" y="341781"/>
                  </a:lnTo>
                  <a:lnTo>
                    <a:pt x="1448806" y="345689"/>
                  </a:lnTo>
                  <a:lnTo>
                    <a:pt x="1463112" y="353339"/>
                  </a:lnTo>
                  <a:lnTo>
                    <a:pt x="1543463" y="334581"/>
                  </a:lnTo>
                  <a:lnTo>
                    <a:pt x="1549673" y="336840"/>
                  </a:lnTo>
                  <a:lnTo>
                    <a:pt x="1569708" y="354544"/>
                  </a:lnTo>
                  <a:lnTo>
                    <a:pt x="1563054" y="361175"/>
                  </a:lnTo>
                  <a:lnTo>
                    <a:pt x="1563004" y="367431"/>
                  </a:lnTo>
                  <a:lnTo>
                    <a:pt x="1565607" y="374443"/>
                  </a:lnTo>
                  <a:lnTo>
                    <a:pt x="1567336" y="383636"/>
                  </a:lnTo>
                  <a:lnTo>
                    <a:pt x="1565386" y="391284"/>
                  </a:lnTo>
                  <a:lnTo>
                    <a:pt x="1560643" y="398385"/>
                  </a:lnTo>
                  <a:lnTo>
                    <a:pt x="1554604" y="403479"/>
                  </a:lnTo>
                  <a:lnTo>
                    <a:pt x="1548848" y="405201"/>
                  </a:lnTo>
                  <a:lnTo>
                    <a:pt x="1549710" y="406485"/>
                  </a:lnTo>
                  <a:lnTo>
                    <a:pt x="1550846" y="407466"/>
                  </a:lnTo>
                  <a:lnTo>
                    <a:pt x="1551001" y="409257"/>
                  </a:lnTo>
                  <a:lnTo>
                    <a:pt x="1548815" y="413017"/>
                  </a:lnTo>
                  <a:lnTo>
                    <a:pt x="1552381" y="416917"/>
                  </a:lnTo>
                  <a:lnTo>
                    <a:pt x="1553366" y="421712"/>
                  </a:lnTo>
                  <a:lnTo>
                    <a:pt x="1552042" y="427104"/>
                  </a:lnTo>
                  <a:lnTo>
                    <a:pt x="1548734" y="432556"/>
                  </a:lnTo>
                  <a:lnTo>
                    <a:pt x="1556076" y="429863"/>
                  </a:lnTo>
                  <a:lnTo>
                    <a:pt x="1561639" y="423045"/>
                  </a:lnTo>
                  <a:lnTo>
                    <a:pt x="1569541" y="405276"/>
                  </a:lnTo>
                  <a:lnTo>
                    <a:pt x="1574020" y="386333"/>
                  </a:lnTo>
                  <a:lnTo>
                    <a:pt x="1576447" y="381549"/>
                  </a:lnTo>
                  <a:lnTo>
                    <a:pt x="1579786" y="379325"/>
                  </a:lnTo>
                  <a:lnTo>
                    <a:pt x="1592360" y="378007"/>
                  </a:lnTo>
                  <a:lnTo>
                    <a:pt x="1596916" y="375342"/>
                  </a:lnTo>
                  <a:lnTo>
                    <a:pt x="1599144" y="372254"/>
                  </a:lnTo>
                  <a:lnTo>
                    <a:pt x="1600856" y="369069"/>
                  </a:lnTo>
                  <a:lnTo>
                    <a:pt x="1603949" y="366004"/>
                  </a:lnTo>
                  <a:lnTo>
                    <a:pt x="1607769" y="364755"/>
                  </a:lnTo>
                  <a:lnTo>
                    <a:pt x="1621901" y="366030"/>
                  </a:lnTo>
                  <a:lnTo>
                    <a:pt x="1629209" y="369665"/>
                  </a:lnTo>
                  <a:lnTo>
                    <a:pt x="1649358" y="385885"/>
                  </a:lnTo>
                  <a:lnTo>
                    <a:pt x="1701930" y="409247"/>
                  </a:lnTo>
                  <a:lnTo>
                    <a:pt x="1731733" y="437285"/>
                  </a:lnTo>
                  <a:lnTo>
                    <a:pt x="1745462" y="440677"/>
                  </a:lnTo>
                  <a:lnTo>
                    <a:pt x="1760740" y="437795"/>
                  </a:lnTo>
                  <a:lnTo>
                    <a:pt x="1771947" y="430740"/>
                  </a:lnTo>
                  <a:lnTo>
                    <a:pt x="1790899" y="412792"/>
                  </a:lnTo>
                  <a:lnTo>
                    <a:pt x="1801840" y="405606"/>
                  </a:lnTo>
                  <a:lnTo>
                    <a:pt x="1813278" y="400670"/>
                  </a:lnTo>
                  <a:lnTo>
                    <a:pt x="1841069" y="396835"/>
                  </a:lnTo>
                  <a:lnTo>
                    <a:pt x="1841101" y="400718"/>
                  </a:lnTo>
                  <a:lnTo>
                    <a:pt x="1835111" y="401069"/>
                  </a:lnTo>
                  <a:lnTo>
                    <a:pt x="1826787" y="401226"/>
                  </a:lnTo>
                  <a:lnTo>
                    <a:pt x="1832583" y="403786"/>
                  </a:lnTo>
                  <a:lnTo>
                    <a:pt x="1838344" y="401835"/>
                  </a:lnTo>
                  <a:lnTo>
                    <a:pt x="1846200" y="407237"/>
                  </a:lnTo>
                  <a:lnTo>
                    <a:pt x="1869472" y="392589"/>
                  </a:lnTo>
                  <a:lnTo>
                    <a:pt x="1879947" y="396493"/>
                  </a:lnTo>
                  <a:lnTo>
                    <a:pt x="1867714" y="410540"/>
                  </a:lnTo>
                  <a:lnTo>
                    <a:pt x="1864211" y="416155"/>
                  </a:lnTo>
                  <a:lnTo>
                    <a:pt x="1862215" y="414522"/>
                  </a:lnTo>
                  <a:lnTo>
                    <a:pt x="1857122" y="412309"/>
                  </a:lnTo>
                  <a:lnTo>
                    <a:pt x="1860814" y="421629"/>
                  </a:lnTo>
                  <a:lnTo>
                    <a:pt x="1864088" y="444351"/>
                  </a:lnTo>
                  <a:lnTo>
                    <a:pt x="1866824" y="455143"/>
                  </a:lnTo>
                  <a:lnTo>
                    <a:pt x="1864416" y="462377"/>
                  </a:lnTo>
                  <a:lnTo>
                    <a:pt x="1864722" y="472099"/>
                  </a:lnTo>
                  <a:lnTo>
                    <a:pt x="1867132" y="488548"/>
                  </a:lnTo>
                  <a:lnTo>
                    <a:pt x="1865779" y="498331"/>
                  </a:lnTo>
                  <a:lnTo>
                    <a:pt x="1862613" y="503569"/>
                  </a:lnTo>
                  <a:lnTo>
                    <a:pt x="1859431" y="507202"/>
                  </a:lnTo>
                  <a:lnTo>
                    <a:pt x="1858004" y="512169"/>
                  </a:lnTo>
                  <a:lnTo>
                    <a:pt x="1819311" y="537877"/>
                  </a:lnTo>
                  <a:lnTo>
                    <a:pt x="1805980" y="555275"/>
                  </a:lnTo>
                  <a:lnTo>
                    <a:pt x="1800136" y="559129"/>
                  </a:lnTo>
                  <a:lnTo>
                    <a:pt x="1786597" y="563908"/>
                  </a:lnTo>
                  <a:lnTo>
                    <a:pt x="1783975" y="563831"/>
                  </a:lnTo>
                  <a:lnTo>
                    <a:pt x="1781150" y="566405"/>
                  </a:lnTo>
                  <a:lnTo>
                    <a:pt x="1778875" y="564788"/>
                  </a:lnTo>
                  <a:lnTo>
                    <a:pt x="1776486" y="562218"/>
                  </a:lnTo>
                  <a:lnTo>
                    <a:pt x="1773481" y="561933"/>
                  </a:lnTo>
                  <a:lnTo>
                    <a:pt x="1770842" y="563667"/>
                  </a:lnTo>
                  <a:lnTo>
                    <a:pt x="1769512" y="565185"/>
                  </a:lnTo>
                  <a:lnTo>
                    <a:pt x="1756662" y="585485"/>
                  </a:lnTo>
                  <a:lnTo>
                    <a:pt x="1753236" y="589339"/>
                  </a:lnTo>
                  <a:lnTo>
                    <a:pt x="1753251" y="592898"/>
                  </a:lnTo>
                  <a:lnTo>
                    <a:pt x="1757758" y="604045"/>
                  </a:lnTo>
                  <a:lnTo>
                    <a:pt x="1762693" y="612257"/>
                  </a:lnTo>
                  <a:lnTo>
                    <a:pt x="1769177" y="617600"/>
                  </a:lnTo>
                  <a:lnTo>
                    <a:pt x="1778360" y="620484"/>
                  </a:lnTo>
                  <a:lnTo>
                    <a:pt x="1791351" y="619063"/>
                  </a:lnTo>
                  <a:lnTo>
                    <a:pt x="1794698" y="620391"/>
                  </a:lnTo>
                  <a:lnTo>
                    <a:pt x="1797116" y="626308"/>
                  </a:lnTo>
                  <a:lnTo>
                    <a:pt x="1797487" y="633124"/>
                  </a:lnTo>
                  <a:lnTo>
                    <a:pt x="1798807" y="638372"/>
                  </a:lnTo>
                  <a:lnTo>
                    <a:pt x="1803773" y="639806"/>
                  </a:lnTo>
                  <a:lnTo>
                    <a:pt x="1805089" y="639892"/>
                  </a:lnTo>
                  <a:lnTo>
                    <a:pt x="1809007" y="640121"/>
                  </a:lnTo>
                  <a:lnTo>
                    <a:pt x="1810675" y="639761"/>
                  </a:lnTo>
                  <a:lnTo>
                    <a:pt x="1814952" y="636361"/>
                  </a:lnTo>
                  <a:lnTo>
                    <a:pt x="1824734" y="625914"/>
                  </a:lnTo>
                  <a:lnTo>
                    <a:pt x="1830274" y="623688"/>
                  </a:lnTo>
                  <a:lnTo>
                    <a:pt x="1836668" y="622290"/>
                  </a:lnTo>
                  <a:lnTo>
                    <a:pt x="1854484" y="612490"/>
                  </a:lnTo>
                  <a:lnTo>
                    <a:pt x="1895300" y="606667"/>
                  </a:lnTo>
                  <a:lnTo>
                    <a:pt x="1898266" y="607777"/>
                  </a:lnTo>
                  <a:lnTo>
                    <a:pt x="1900625" y="611009"/>
                  </a:lnTo>
                  <a:lnTo>
                    <a:pt x="1902899" y="619036"/>
                  </a:lnTo>
                  <a:lnTo>
                    <a:pt x="1905323" y="623013"/>
                  </a:lnTo>
                  <a:lnTo>
                    <a:pt x="1917321" y="626186"/>
                  </a:lnTo>
                  <a:lnTo>
                    <a:pt x="1919187" y="629051"/>
                  </a:lnTo>
                  <a:lnTo>
                    <a:pt x="1917773" y="642094"/>
                  </a:lnTo>
                  <a:lnTo>
                    <a:pt x="1918580" y="648042"/>
                  </a:lnTo>
                  <a:lnTo>
                    <a:pt x="1922882" y="650483"/>
                  </a:lnTo>
                  <a:lnTo>
                    <a:pt x="1932919" y="651044"/>
                  </a:lnTo>
                  <a:lnTo>
                    <a:pt x="1935706" y="650335"/>
                  </a:lnTo>
                  <a:lnTo>
                    <a:pt x="1949177" y="638447"/>
                  </a:lnTo>
                  <a:lnTo>
                    <a:pt x="1951774" y="640160"/>
                  </a:lnTo>
                  <a:lnTo>
                    <a:pt x="1955328" y="648212"/>
                  </a:lnTo>
                  <a:lnTo>
                    <a:pt x="1957435" y="650070"/>
                  </a:lnTo>
                  <a:lnTo>
                    <a:pt x="1971464" y="649889"/>
                  </a:lnTo>
                  <a:lnTo>
                    <a:pt x="1971652" y="651679"/>
                  </a:lnTo>
                  <a:lnTo>
                    <a:pt x="1984788" y="667856"/>
                  </a:lnTo>
                  <a:lnTo>
                    <a:pt x="1987362" y="669520"/>
                  </a:lnTo>
                  <a:lnTo>
                    <a:pt x="1991201" y="669467"/>
                  </a:lnTo>
                  <a:lnTo>
                    <a:pt x="1991553" y="663435"/>
                  </a:lnTo>
                  <a:lnTo>
                    <a:pt x="1994820" y="654200"/>
                  </a:lnTo>
                  <a:lnTo>
                    <a:pt x="1997258" y="642764"/>
                  </a:lnTo>
                  <a:lnTo>
                    <a:pt x="1995645" y="633573"/>
                  </a:lnTo>
                  <a:lnTo>
                    <a:pt x="1998076" y="629350"/>
                  </a:lnTo>
                  <a:lnTo>
                    <a:pt x="2001296" y="626746"/>
                  </a:lnTo>
                  <a:lnTo>
                    <a:pt x="2004105" y="626007"/>
                  </a:lnTo>
                  <a:lnTo>
                    <a:pt x="2003411" y="623458"/>
                  </a:lnTo>
                  <a:lnTo>
                    <a:pt x="2002494" y="617002"/>
                  </a:lnTo>
                  <a:lnTo>
                    <a:pt x="2001852" y="614313"/>
                  </a:lnTo>
                  <a:lnTo>
                    <a:pt x="2013165" y="602466"/>
                  </a:lnTo>
                  <a:lnTo>
                    <a:pt x="2013100" y="598210"/>
                  </a:lnTo>
                  <a:lnTo>
                    <a:pt x="2010803" y="598244"/>
                  </a:lnTo>
                  <a:lnTo>
                    <a:pt x="2010750" y="594685"/>
                  </a:lnTo>
                  <a:lnTo>
                    <a:pt x="2019389" y="598139"/>
                  </a:lnTo>
                  <a:lnTo>
                    <a:pt x="2022286" y="598071"/>
                  </a:lnTo>
                  <a:lnTo>
                    <a:pt x="2029014" y="592919"/>
                  </a:lnTo>
                  <a:lnTo>
                    <a:pt x="2034755" y="577635"/>
                  </a:lnTo>
                  <a:lnTo>
                    <a:pt x="2039210" y="574353"/>
                  </a:lnTo>
                  <a:lnTo>
                    <a:pt x="2041898" y="573356"/>
                  </a:lnTo>
                  <a:lnTo>
                    <a:pt x="2044069" y="570808"/>
                  </a:lnTo>
                  <a:lnTo>
                    <a:pt x="2045729" y="567152"/>
                  </a:lnTo>
                  <a:lnTo>
                    <a:pt x="2047133" y="562895"/>
                  </a:lnTo>
                  <a:lnTo>
                    <a:pt x="2047304" y="560052"/>
                  </a:lnTo>
                  <a:lnTo>
                    <a:pt x="2044759" y="558070"/>
                  </a:lnTo>
                  <a:lnTo>
                    <a:pt x="2044710" y="555139"/>
                  </a:lnTo>
                  <a:lnTo>
                    <a:pt x="2045726" y="552191"/>
                  </a:lnTo>
                  <a:lnTo>
                    <a:pt x="2047085" y="550214"/>
                  </a:lnTo>
                  <a:lnTo>
                    <a:pt x="2048314" y="548658"/>
                  </a:lnTo>
                  <a:lnTo>
                    <a:pt x="2056351" y="533472"/>
                  </a:lnTo>
                  <a:lnTo>
                    <a:pt x="2066882" y="525871"/>
                  </a:lnTo>
                  <a:lnTo>
                    <a:pt x="2079932" y="523758"/>
                  </a:lnTo>
                  <a:lnTo>
                    <a:pt x="2107993" y="528224"/>
                  </a:lnTo>
                  <a:lnTo>
                    <a:pt x="2187448" y="509375"/>
                  </a:lnTo>
                  <a:lnTo>
                    <a:pt x="2199818" y="501000"/>
                  </a:lnTo>
                  <a:lnTo>
                    <a:pt x="2201913" y="517333"/>
                  </a:lnTo>
                  <a:lnTo>
                    <a:pt x="2201028" y="533245"/>
                  </a:lnTo>
                  <a:lnTo>
                    <a:pt x="2202050" y="546743"/>
                  </a:lnTo>
                  <a:lnTo>
                    <a:pt x="2210097" y="555774"/>
                  </a:lnTo>
                  <a:lnTo>
                    <a:pt x="2206687" y="548917"/>
                  </a:lnTo>
                  <a:lnTo>
                    <a:pt x="2204677" y="534118"/>
                  </a:lnTo>
                  <a:lnTo>
                    <a:pt x="2202775" y="528598"/>
                  </a:lnTo>
                  <a:lnTo>
                    <a:pt x="2206108" y="521844"/>
                  </a:lnTo>
                  <a:lnTo>
                    <a:pt x="2215625" y="516133"/>
                  </a:lnTo>
                  <a:lnTo>
                    <a:pt x="2218301" y="508344"/>
                  </a:lnTo>
                  <a:lnTo>
                    <a:pt x="2214534" y="508061"/>
                  </a:lnTo>
                  <a:lnTo>
                    <a:pt x="2210954" y="508794"/>
                  </a:lnTo>
                  <a:lnTo>
                    <a:pt x="2207556" y="510339"/>
                  </a:lnTo>
                  <a:lnTo>
                    <a:pt x="2204501" y="512573"/>
                  </a:lnTo>
                  <a:lnTo>
                    <a:pt x="2206909" y="507166"/>
                  </a:lnTo>
                  <a:lnTo>
                    <a:pt x="2217909" y="491948"/>
                  </a:lnTo>
                  <a:lnTo>
                    <a:pt x="2224538" y="485648"/>
                  </a:lnTo>
                  <a:lnTo>
                    <a:pt x="2232155" y="472063"/>
                  </a:lnTo>
                  <a:lnTo>
                    <a:pt x="2236784" y="468879"/>
                  </a:lnTo>
                  <a:lnTo>
                    <a:pt x="2241130" y="467495"/>
                  </a:lnTo>
                  <a:lnTo>
                    <a:pt x="2265950" y="453075"/>
                  </a:lnTo>
                  <a:lnTo>
                    <a:pt x="2278330" y="442075"/>
                  </a:lnTo>
                  <a:lnTo>
                    <a:pt x="2283118" y="436134"/>
                  </a:lnTo>
                  <a:lnTo>
                    <a:pt x="2294509" y="412397"/>
                  </a:lnTo>
                  <a:lnTo>
                    <a:pt x="2313738" y="382764"/>
                  </a:lnTo>
                  <a:lnTo>
                    <a:pt x="2315750" y="377193"/>
                  </a:lnTo>
                  <a:lnTo>
                    <a:pt x="2328793" y="352883"/>
                  </a:lnTo>
                  <a:lnTo>
                    <a:pt x="2333635" y="337735"/>
                  </a:lnTo>
                  <a:lnTo>
                    <a:pt x="2337303" y="332674"/>
                  </a:lnTo>
                  <a:lnTo>
                    <a:pt x="2343987" y="329039"/>
                  </a:lnTo>
                  <a:lnTo>
                    <a:pt x="2344091" y="332549"/>
                  </a:lnTo>
                  <a:lnTo>
                    <a:pt x="2341820" y="332614"/>
                  </a:lnTo>
                  <a:lnTo>
                    <a:pt x="2349244" y="343874"/>
                  </a:lnTo>
                  <a:lnTo>
                    <a:pt x="2363759" y="349358"/>
                  </a:lnTo>
                  <a:lnTo>
                    <a:pt x="2439429" y="346997"/>
                  </a:lnTo>
                  <a:lnTo>
                    <a:pt x="2452107" y="352653"/>
                  </a:lnTo>
                  <a:lnTo>
                    <a:pt x="2459613" y="348003"/>
                  </a:lnTo>
                  <a:lnTo>
                    <a:pt x="2469246" y="350051"/>
                  </a:lnTo>
                  <a:lnTo>
                    <a:pt x="2473716" y="356277"/>
                  </a:lnTo>
                  <a:lnTo>
                    <a:pt x="2465727" y="364231"/>
                  </a:lnTo>
                  <a:lnTo>
                    <a:pt x="2457290" y="366376"/>
                  </a:lnTo>
                  <a:lnTo>
                    <a:pt x="2421559" y="364473"/>
                  </a:lnTo>
                  <a:lnTo>
                    <a:pt x="2407173" y="359553"/>
                  </a:lnTo>
                  <a:lnTo>
                    <a:pt x="2398365" y="358641"/>
                  </a:lnTo>
                  <a:lnTo>
                    <a:pt x="2395804" y="359886"/>
                  </a:lnTo>
                  <a:lnTo>
                    <a:pt x="2392421" y="365179"/>
                  </a:lnTo>
                  <a:lnTo>
                    <a:pt x="2390571" y="366656"/>
                  </a:lnTo>
                  <a:lnTo>
                    <a:pt x="2383802" y="366863"/>
                  </a:lnTo>
                  <a:lnTo>
                    <a:pt x="2375142" y="365496"/>
                  </a:lnTo>
                  <a:lnTo>
                    <a:pt x="2371975" y="367406"/>
                  </a:lnTo>
                  <a:lnTo>
                    <a:pt x="2370178" y="375094"/>
                  </a:lnTo>
                  <a:lnTo>
                    <a:pt x="2367991" y="370924"/>
                  </a:lnTo>
                  <a:lnTo>
                    <a:pt x="2366262" y="372045"/>
                  </a:lnTo>
                  <a:lnTo>
                    <a:pt x="2363388" y="374692"/>
                  </a:lnTo>
                  <a:lnTo>
                    <a:pt x="2361294" y="375358"/>
                  </a:lnTo>
                  <a:lnTo>
                    <a:pt x="2362037" y="380223"/>
                  </a:lnTo>
                  <a:lnTo>
                    <a:pt x="2363485" y="382369"/>
                  </a:lnTo>
                  <a:lnTo>
                    <a:pt x="2365620" y="383026"/>
                  </a:lnTo>
                  <a:lnTo>
                    <a:pt x="2368368" y="383341"/>
                  </a:lnTo>
                  <a:lnTo>
                    <a:pt x="2367185" y="383677"/>
                  </a:lnTo>
                  <a:lnTo>
                    <a:pt x="2366265" y="383729"/>
                  </a:lnTo>
                  <a:lnTo>
                    <a:pt x="2365800" y="384487"/>
                  </a:lnTo>
                  <a:lnTo>
                    <a:pt x="2365983" y="386949"/>
                  </a:lnTo>
                  <a:lnTo>
                    <a:pt x="2359483" y="383650"/>
                  </a:lnTo>
                  <a:lnTo>
                    <a:pt x="2352350" y="384533"/>
                  </a:lnTo>
                  <a:lnTo>
                    <a:pt x="2346454" y="388753"/>
                  </a:lnTo>
                  <a:lnTo>
                    <a:pt x="2343665" y="395396"/>
                  </a:lnTo>
                  <a:lnTo>
                    <a:pt x="2338044" y="388693"/>
                  </a:lnTo>
                  <a:lnTo>
                    <a:pt x="2331362" y="385554"/>
                  </a:lnTo>
                  <a:lnTo>
                    <a:pt x="2319271" y="384753"/>
                  </a:lnTo>
                  <a:lnTo>
                    <a:pt x="2313925" y="387506"/>
                  </a:lnTo>
                  <a:lnTo>
                    <a:pt x="2309612" y="394257"/>
                  </a:lnTo>
                  <a:lnTo>
                    <a:pt x="2307687" y="403036"/>
                  </a:lnTo>
                  <a:lnTo>
                    <a:pt x="2309782" y="411985"/>
                  </a:lnTo>
                  <a:lnTo>
                    <a:pt x="2304980" y="411138"/>
                  </a:lnTo>
                  <a:lnTo>
                    <a:pt x="2303004" y="410354"/>
                  </a:lnTo>
                  <a:lnTo>
                    <a:pt x="2300587" y="408325"/>
                  </a:lnTo>
                  <a:lnTo>
                    <a:pt x="2298415" y="412293"/>
                  </a:lnTo>
                  <a:lnTo>
                    <a:pt x="2300801" y="419070"/>
                  </a:lnTo>
                  <a:lnTo>
                    <a:pt x="2299358" y="425881"/>
                  </a:lnTo>
                  <a:lnTo>
                    <a:pt x="2295314" y="430947"/>
                  </a:lnTo>
                  <a:lnTo>
                    <a:pt x="2289837" y="432373"/>
                  </a:lnTo>
                  <a:lnTo>
                    <a:pt x="2292410" y="440100"/>
                  </a:lnTo>
                  <a:lnTo>
                    <a:pt x="2295347" y="446143"/>
                  </a:lnTo>
                  <a:lnTo>
                    <a:pt x="2296218" y="451147"/>
                  </a:lnTo>
                  <a:lnTo>
                    <a:pt x="2292563" y="455758"/>
                  </a:lnTo>
                  <a:lnTo>
                    <a:pt x="2307412" y="465528"/>
                  </a:lnTo>
                  <a:lnTo>
                    <a:pt x="2315601" y="467423"/>
                  </a:lnTo>
                  <a:lnTo>
                    <a:pt x="2322625" y="462737"/>
                  </a:lnTo>
                  <a:lnTo>
                    <a:pt x="2317438" y="463090"/>
                  </a:lnTo>
                  <a:lnTo>
                    <a:pt x="2313442" y="461245"/>
                  </a:lnTo>
                  <a:lnTo>
                    <a:pt x="2306424" y="455386"/>
                  </a:lnTo>
                  <a:lnTo>
                    <a:pt x="2308411" y="448606"/>
                  </a:lnTo>
                  <a:lnTo>
                    <a:pt x="2311425" y="443566"/>
                  </a:lnTo>
                  <a:lnTo>
                    <a:pt x="2319587" y="435152"/>
                  </a:lnTo>
                  <a:lnTo>
                    <a:pt x="2321503" y="433748"/>
                  </a:lnTo>
                  <a:lnTo>
                    <a:pt x="2325135" y="432484"/>
                  </a:lnTo>
                  <a:lnTo>
                    <a:pt x="2326490" y="431375"/>
                  </a:lnTo>
                  <a:lnTo>
                    <a:pt x="2327468" y="428531"/>
                  </a:lnTo>
                  <a:lnTo>
                    <a:pt x="2327586" y="421290"/>
                  </a:lnTo>
                  <a:lnTo>
                    <a:pt x="2328226" y="418945"/>
                  </a:lnTo>
                  <a:lnTo>
                    <a:pt x="2333730" y="413972"/>
                  </a:lnTo>
                  <a:lnTo>
                    <a:pt x="2355067" y="402886"/>
                  </a:lnTo>
                  <a:lnTo>
                    <a:pt x="2350466" y="399646"/>
                  </a:lnTo>
                  <a:lnTo>
                    <a:pt x="2348362" y="399171"/>
                  </a:lnTo>
                  <a:lnTo>
                    <a:pt x="2348246" y="395264"/>
                  </a:lnTo>
                  <a:lnTo>
                    <a:pt x="2354358" y="392783"/>
                  </a:lnTo>
                  <a:lnTo>
                    <a:pt x="2356615" y="392926"/>
                  </a:lnTo>
                  <a:lnTo>
                    <a:pt x="2359388" y="394939"/>
                  </a:lnTo>
                  <a:lnTo>
                    <a:pt x="2359271" y="391033"/>
                  </a:lnTo>
                  <a:lnTo>
                    <a:pt x="2365674" y="396429"/>
                  </a:lnTo>
                  <a:lnTo>
                    <a:pt x="2375515" y="393506"/>
                  </a:lnTo>
                  <a:lnTo>
                    <a:pt x="2393349" y="382584"/>
                  </a:lnTo>
                  <a:lnTo>
                    <a:pt x="2392557" y="380699"/>
                  </a:lnTo>
                  <a:lnTo>
                    <a:pt x="2391528" y="376402"/>
                  </a:lnTo>
                  <a:lnTo>
                    <a:pt x="2390816" y="374469"/>
                  </a:lnTo>
                  <a:lnTo>
                    <a:pt x="2394202" y="371805"/>
                  </a:lnTo>
                  <a:lnTo>
                    <a:pt x="2398052" y="370102"/>
                  </a:lnTo>
                  <a:lnTo>
                    <a:pt x="2402123" y="369417"/>
                  </a:lnTo>
                  <a:lnTo>
                    <a:pt x="2406362" y="369751"/>
                  </a:lnTo>
                  <a:lnTo>
                    <a:pt x="2406498" y="373982"/>
                  </a:lnTo>
                  <a:lnTo>
                    <a:pt x="2401528" y="375440"/>
                  </a:lnTo>
                  <a:lnTo>
                    <a:pt x="2398314" y="380078"/>
                  </a:lnTo>
                  <a:lnTo>
                    <a:pt x="2396570" y="386674"/>
                  </a:lnTo>
                  <a:lnTo>
                    <a:pt x="2395983" y="393836"/>
                  </a:lnTo>
                  <a:lnTo>
                    <a:pt x="2399926" y="386452"/>
                  </a:lnTo>
                  <a:lnTo>
                    <a:pt x="2401322" y="382568"/>
                  </a:lnTo>
                  <a:lnTo>
                    <a:pt x="2402315" y="377999"/>
                  </a:lnTo>
                  <a:lnTo>
                    <a:pt x="2405469" y="383347"/>
                  </a:lnTo>
                  <a:lnTo>
                    <a:pt x="2409045" y="388286"/>
                  </a:lnTo>
                  <a:lnTo>
                    <a:pt x="2412842" y="389936"/>
                  </a:lnTo>
                  <a:lnTo>
                    <a:pt x="2416385" y="385401"/>
                  </a:lnTo>
                  <a:lnTo>
                    <a:pt x="2420400" y="388764"/>
                  </a:lnTo>
                  <a:lnTo>
                    <a:pt x="2423972" y="388486"/>
                  </a:lnTo>
                  <a:lnTo>
                    <a:pt x="2427136" y="385709"/>
                  </a:lnTo>
                  <a:lnTo>
                    <a:pt x="2429924" y="381430"/>
                  </a:lnTo>
                  <a:lnTo>
                    <a:pt x="2430991" y="385816"/>
                  </a:lnTo>
                  <a:lnTo>
                    <a:pt x="2432727" y="389879"/>
                  </a:lnTo>
                  <a:lnTo>
                    <a:pt x="2434935" y="393463"/>
                  </a:lnTo>
                  <a:lnTo>
                    <a:pt x="2440871" y="400577"/>
                  </a:lnTo>
                  <a:lnTo>
                    <a:pt x="2442154" y="401582"/>
                  </a:lnTo>
                  <a:lnTo>
                    <a:pt x="2443326" y="400915"/>
                  </a:lnTo>
                  <a:lnTo>
                    <a:pt x="2446662" y="400038"/>
                  </a:lnTo>
                  <a:lnTo>
                    <a:pt x="2453075" y="400244"/>
                  </a:lnTo>
                  <a:lnTo>
                    <a:pt x="2456403" y="399156"/>
                  </a:lnTo>
                  <a:lnTo>
                    <a:pt x="2460030" y="395682"/>
                  </a:lnTo>
                  <a:lnTo>
                    <a:pt x="2462718" y="390983"/>
                  </a:lnTo>
                  <a:lnTo>
                    <a:pt x="2465839" y="381590"/>
                  </a:lnTo>
                  <a:lnTo>
                    <a:pt x="2468624" y="375840"/>
                  </a:lnTo>
                  <a:lnTo>
                    <a:pt x="2476832" y="367110"/>
                  </a:lnTo>
                  <a:lnTo>
                    <a:pt x="2489739" y="358075"/>
                  </a:lnTo>
                  <a:lnTo>
                    <a:pt x="2502768" y="352659"/>
                  </a:lnTo>
                  <a:lnTo>
                    <a:pt x="2511302" y="354870"/>
                  </a:lnTo>
                  <a:lnTo>
                    <a:pt x="2507230" y="359135"/>
                  </a:lnTo>
                  <a:lnTo>
                    <a:pt x="2507315" y="365954"/>
                  </a:lnTo>
                  <a:lnTo>
                    <a:pt x="2510097" y="373118"/>
                  </a:lnTo>
                  <a:lnTo>
                    <a:pt x="2514229" y="378557"/>
                  </a:lnTo>
                  <a:lnTo>
                    <a:pt x="2528918" y="385521"/>
                  </a:lnTo>
                  <a:lnTo>
                    <a:pt x="2533017" y="389213"/>
                  </a:lnTo>
                  <a:lnTo>
                    <a:pt x="2527148" y="400719"/>
                  </a:lnTo>
                  <a:lnTo>
                    <a:pt x="2528831" y="409457"/>
                  </a:lnTo>
                  <a:lnTo>
                    <a:pt x="2538901" y="424500"/>
                  </a:lnTo>
                  <a:lnTo>
                    <a:pt x="2540086" y="430696"/>
                  </a:lnTo>
                  <a:lnTo>
                    <a:pt x="2540318" y="436879"/>
                  </a:lnTo>
                  <a:lnTo>
                    <a:pt x="2541451" y="441680"/>
                  </a:lnTo>
                  <a:lnTo>
                    <a:pt x="2545218" y="443497"/>
                  </a:lnTo>
                  <a:lnTo>
                    <a:pt x="2560130" y="442941"/>
                  </a:lnTo>
                  <a:lnTo>
                    <a:pt x="2560292" y="447171"/>
                  </a:lnTo>
                  <a:lnTo>
                    <a:pt x="2557172" y="447382"/>
                  </a:lnTo>
                  <a:lnTo>
                    <a:pt x="2554981" y="448442"/>
                  </a:lnTo>
                  <a:lnTo>
                    <a:pt x="2551326" y="451045"/>
                  </a:lnTo>
                  <a:lnTo>
                    <a:pt x="2562208" y="449589"/>
                  </a:lnTo>
                  <a:lnTo>
                    <a:pt x="2580041" y="458899"/>
                  </a:lnTo>
                  <a:lnTo>
                    <a:pt x="2591785" y="461240"/>
                  </a:lnTo>
                  <a:lnTo>
                    <a:pt x="2600535" y="465602"/>
                  </a:lnTo>
                  <a:lnTo>
                    <a:pt x="2612466" y="487878"/>
                  </a:lnTo>
                  <a:lnTo>
                    <a:pt x="2621855" y="495537"/>
                  </a:lnTo>
                  <a:lnTo>
                    <a:pt x="2616806" y="499441"/>
                  </a:lnTo>
                  <a:lnTo>
                    <a:pt x="2613025" y="503712"/>
                  </a:lnTo>
                  <a:lnTo>
                    <a:pt x="2621382" y="503310"/>
                  </a:lnTo>
                  <a:lnTo>
                    <a:pt x="2633589" y="496416"/>
                  </a:lnTo>
                  <a:lnTo>
                    <a:pt x="2640283" y="498704"/>
                  </a:lnTo>
                  <a:lnTo>
                    <a:pt x="2637947" y="505505"/>
                  </a:lnTo>
                  <a:lnTo>
                    <a:pt x="2636450" y="508221"/>
                  </a:lnTo>
                  <a:lnTo>
                    <a:pt x="2633907" y="510699"/>
                  </a:lnTo>
                  <a:lnTo>
                    <a:pt x="2637956" y="512958"/>
                  </a:lnTo>
                  <a:lnTo>
                    <a:pt x="2640351" y="511485"/>
                  </a:lnTo>
                  <a:lnTo>
                    <a:pt x="2642479" y="509512"/>
                  </a:lnTo>
                  <a:lnTo>
                    <a:pt x="2645537" y="510225"/>
                  </a:lnTo>
                  <a:lnTo>
                    <a:pt x="2647483" y="513034"/>
                  </a:lnTo>
                  <a:lnTo>
                    <a:pt x="2652883" y="525921"/>
                  </a:lnTo>
                  <a:lnTo>
                    <a:pt x="2657491" y="534183"/>
                  </a:lnTo>
                  <a:lnTo>
                    <a:pt x="2662716" y="540812"/>
                  </a:lnTo>
                  <a:lnTo>
                    <a:pt x="2669082" y="544646"/>
                  </a:lnTo>
                  <a:lnTo>
                    <a:pt x="2676971" y="544454"/>
                  </a:lnTo>
                  <a:lnTo>
                    <a:pt x="2676803" y="540549"/>
                  </a:lnTo>
                  <a:lnTo>
                    <a:pt x="2673935" y="538037"/>
                  </a:lnTo>
                  <a:lnTo>
                    <a:pt x="2669838" y="531666"/>
                  </a:lnTo>
                  <a:lnTo>
                    <a:pt x="2666977" y="529247"/>
                  </a:lnTo>
                  <a:lnTo>
                    <a:pt x="2666810" y="525342"/>
                  </a:lnTo>
                  <a:lnTo>
                    <a:pt x="2707792" y="515419"/>
                  </a:lnTo>
                  <a:lnTo>
                    <a:pt x="2717502" y="510383"/>
                  </a:lnTo>
                  <a:lnTo>
                    <a:pt x="2734073" y="497912"/>
                  </a:lnTo>
                  <a:lnTo>
                    <a:pt x="2743454" y="494277"/>
                  </a:lnTo>
                  <a:lnTo>
                    <a:pt x="2745115" y="497185"/>
                  </a:lnTo>
                  <a:lnTo>
                    <a:pt x="2744632" y="499722"/>
                  </a:lnTo>
                  <a:lnTo>
                    <a:pt x="2742564" y="501632"/>
                  </a:lnTo>
                  <a:lnTo>
                    <a:pt x="2739256" y="502665"/>
                  </a:lnTo>
                  <a:lnTo>
                    <a:pt x="2739417" y="506197"/>
                  </a:lnTo>
                  <a:lnTo>
                    <a:pt x="2749874" y="511036"/>
                  </a:lnTo>
                  <a:lnTo>
                    <a:pt x="2777489" y="532200"/>
                  </a:lnTo>
                  <a:lnTo>
                    <a:pt x="2777672" y="536083"/>
                  </a:lnTo>
                  <a:lnTo>
                    <a:pt x="2773241" y="544695"/>
                  </a:lnTo>
                  <a:lnTo>
                    <a:pt x="2771003" y="555838"/>
                  </a:lnTo>
                  <a:lnTo>
                    <a:pt x="2767352" y="566068"/>
                  </a:lnTo>
                  <a:lnTo>
                    <a:pt x="2758523" y="572131"/>
                  </a:lnTo>
                  <a:lnTo>
                    <a:pt x="2762709" y="575063"/>
                  </a:lnTo>
                  <a:lnTo>
                    <a:pt x="2773019" y="587120"/>
                  </a:lnTo>
                  <a:lnTo>
                    <a:pt x="2776817" y="592769"/>
                  </a:lnTo>
                  <a:lnTo>
                    <a:pt x="2778855" y="594166"/>
                  </a:lnTo>
                  <a:lnTo>
                    <a:pt x="2788559" y="597768"/>
                  </a:lnTo>
                  <a:lnTo>
                    <a:pt x="2790935" y="599334"/>
                  </a:lnTo>
                  <a:lnTo>
                    <a:pt x="2792623" y="603120"/>
                  </a:lnTo>
                  <a:lnTo>
                    <a:pt x="2793862" y="607255"/>
                  </a:lnTo>
                  <a:lnTo>
                    <a:pt x="2794973" y="609858"/>
                  </a:lnTo>
                  <a:lnTo>
                    <a:pt x="2795454" y="611886"/>
                  </a:lnTo>
                  <a:lnTo>
                    <a:pt x="2795140" y="614511"/>
                  </a:lnTo>
                  <a:lnTo>
                    <a:pt x="2795137" y="616747"/>
                  </a:lnTo>
                  <a:lnTo>
                    <a:pt x="2796497" y="617661"/>
                  </a:lnTo>
                  <a:lnTo>
                    <a:pt x="2801290" y="616969"/>
                  </a:lnTo>
                  <a:lnTo>
                    <a:pt x="2802407" y="617383"/>
                  </a:lnTo>
                  <a:lnTo>
                    <a:pt x="2804284" y="618784"/>
                  </a:lnTo>
                  <a:lnTo>
                    <a:pt x="2806397" y="619942"/>
                  </a:lnTo>
                  <a:lnTo>
                    <a:pt x="2808571" y="620678"/>
                  </a:lnTo>
                  <a:lnTo>
                    <a:pt x="2810473" y="620867"/>
                  </a:lnTo>
                  <a:lnTo>
                    <a:pt x="2814771" y="622968"/>
                  </a:lnTo>
                  <a:lnTo>
                    <a:pt x="2815556" y="628382"/>
                  </a:lnTo>
                  <a:lnTo>
                    <a:pt x="2813786" y="634896"/>
                  </a:lnTo>
                  <a:lnTo>
                    <a:pt x="2810267" y="640444"/>
                  </a:lnTo>
                  <a:lnTo>
                    <a:pt x="2787112" y="661517"/>
                  </a:lnTo>
                  <a:lnTo>
                    <a:pt x="2783950" y="669025"/>
                  </a:lnTo>
                  <a:lnTo>
                    <a:pt x="2787296" y="675858"/>
                  </a:lnTo>
                  <a:lnTo>
                    <a:pt x="2793751" y="678678"/>
                  </a:lnTo>
                  <a:lnTo>
                    <a:pt x="2800075" y="679850"/>
                  </a:lnTo>
                  <a:lnTo>
                    <a:pt x="2803028" y="681807"/>
                  </a:lnTo>
                  <a:lnTo>
                    <a:pt x="2805468" y="687960"/>
                  </a:lnTo>
                  <a:lnTo>
                    <a:pt x="2810754" y="694930"/>
                  </a:lnTo>
                  <a:lnTo>
                    <a:pt x="2816425" y="699553"/>
                  </a:lnTo>
                  <a:lnTo>
                    <a:pt x="2820011" y="698613"/>
                  </a:lnTo>
                  <a:lnTo>
                    <a:pt x="2845861" y="718263"/>
                  </a:lnTo>
                  <a:lnTo>
                    <a:pt x="2857170" y="720274"/>
                  </a:lnTo>
                  <a:lnTo>
                    <a:pt x="2862982" y="726859"/>
                  </a:lnTo>
                  <a:lnTo>
                    <a:pt x="2864366" y="728072"/>
                  </a:lnTo>
                  <a:lnTo>
                    <a:pt x="2872468" y="727017"/>
                  </a:lnTo>
                  <a:lnTo>
                    <a:pt x="2874975" y="727546"/>
                  </a:lnTo>
                  <a:lnTo>
                    <a:pt x="2883728" y="732234"/>
                  </a:lnTo>
                  <a:lnTo>
                    <a:pt x="2887912" y="733723"/>
                  </a:lnTo>
                  <a:lnTo>
                    <a:pt x="2915177" y="734361"/>
                  </a:lnTo>
                  <a:lnTo>
                    <a:pt x="2924537" y="730989"/>
                  </a:lnTo>
                  <a:lnTo>
                    <a:pt x="2928132" y="722879"/>
                  </a:lnTo>
                  <a:lnTo>
                    <a:pt x="2930593" y="720979"/>
                  </a:lnTo>
                  <a:lnTo>
                    <a:pt x="2936062" y="721742"/>
                  </a:lnTo>
                  <a:lnTo>
                    <a:pt x="2941152" y="726252"/>
                  </a:lnTo>
                  <a:lnTo>
                    <a:pt x="2942637" y="735448"/>
                  </a:lnTo>
                  <a:lnTo>
                    <a:pt x="2940197" y="739840"/>
                  </a:lnTo>
                  <a:lnTo>
                    <a:pt x="2924985" y="752029"/>
                  </a:lnTo>
                  <a:lnTo>
                    <a:pt x="2929380" y="754271"/>
                  </a:lnTo>
                  <a:lnTo>
                    <a:pt x="2934424" y="755732"/>
                  </a:lnTo>
                  <a:lnTo>
                    <a:pt x="2939939" y="756190"/>
                  </a:lnTo>
                  <a:lnTo>
                    <a:pt x="2942528" y="755751"/>
                  </a:lnTo>
                  <a:lnTo>
                    <a:pt x="2942518" y="755810"/>
                  </a:lnTo>
                  <a:lnTo>
                    <a:pt x="2943796" y="771841"/>
                  </a:lnTo>
                  <a:lnTo>
                    <a:pt x="2942872" y="780799"/>
                  </a:lnTo>
                  <a:lnTo>
                    <a:pt x="2948578" y="791714"/>
                  </a:lnTo>
                  <a:lnTo>
                    <a:pt x="2956878" y="813531"/>
                  </a:lnTo>
                  <a:lnTo>
                    <a:pt x="2957813" y="819133"/>
                  </a:lnTo>
                  <a:lnTo>
                    <a:pt x="2958027" y="840075"/>
                  </a:lnTo>
                  <a:lnTo>
                    <a:pt x="2958954" y="852723"/>
                  </a:lnTo>
                  <a:lnTo>
                    <a:pt x="2962045" y="864368"/>
                  </a:lnTo>
                  <a:lnTo>
                    <a:pt x="2970988" y="876736"/>
                  </a:lnTo>
                  <a:lnTo>
                    <a:pt x="2975183" y="888469"/>
                  </a:lnTo>
                  <a:lnTo>
                    <a:pt x="2982976" y="900157"/>
                  </a:lnTo>
                  <a:lnTo>
                    <a:pt x="2988146" y="929536"/>
                  </a:lnTo>
                  <a:lnTo>
                    <a:pt x="2997110" y="962430"/>
                  </a:lnTo>
                  <a:lnTo>
                    <a:pt x="3000005" y="973038"/>
                  </a:lnTo>
                  <a:lnTo>
                    <a:pt x="3000800" y="977850"/>
                  </a:lnTo>
                  <a:lnTo>
                    <a:pt x="3001584" y="988197"/>
                  </a:lnTo>
                  <a:lnTo>
                    <a:pt x="3002951" y="993747"/>
                  </a:lnTo>
                  <a:lnTo>
                    <a:pt x="3005234" y="997263"/>
                  </a:lnTo>
                  <a:lnTo>
                    <a:pt x="3010703" y="1001420"/>
                  </a:lnTo>
                  <a:lnTo>
                    <a:pt x="3012221" y="1004533"/>
                  </a:lnTo>
                  <a:lnTo>
                    <a:pt x="3016899" y="1008420"/>
                  </a:lnTo>
                  <a:lnTo>
                    <a:pt x="3008976" y="1026526"/>
                  </a:lnTo>
                  <a:lnTo>
                    <a:pt x="3006676" y="1030425"/>
                  </a:lnTo>
                  <a:lnTo>
                    <a:pt x="3003178" y="1032568"/>
                  </a:lnTo>
                  <a:lnTo>
                    <a:pt x="3000065" y="1037844"/>
                  </a:lnTo>
                  <a:lnTo>
                    <a:pt x="2998008" y="1044956"/>
                  </a:lnTo>
                  <a:lnTo>
                    <a:pt x="2997470" y="1052606"/>
                  </a:lnTo>
                  <a:lnTo>
                    <a:pt x="2999216" y="1061820"/>
                  </a:lnTo>
                  <a:lnTo>
                    <a:pt x="3001712" y="1069795"/>
                  </a:lnTo>
                  <a:lnTo>
                    <a:pt x="3002874" y="1078020"/>
                  </a:lnTo>
                  <a:lnTo>
                    <a:pt x="2994367" y="1110907"/>
                  </a:lnTo>
                  <a:lnTo>
                    <a:pt x="2993669" y="1115738"/>
                  </a:lnTo>
                  <a:lnTo>
                    <a:pt x="2989619" y="1126301"/>
                  </a:lnTo>
                  <a:lnTo>
                    <a:pt x="2979678" y="1137944"/>
                  </a:lnTo>
                  <a:lnTo>
                    <a:pt x="2960303" y="1155200"/>
                  </a:lnTo>
                  <a:lnTo>
                    <a:pt x="2939954" y="1167265"/>
                  </a:lnTo>
                  <a:lnTo>
                    <a:pt x="2923960" y="1180526"/>
                  </a:lnTo>
                  <a:lnTo>
                    <a:pt x="2924143" y="1184084"/>
                  </a:lnTo>
                  <a:lnTo>
                    <a:pt x="2926501" y="1189721"/>
                  </a:lnTo>
                  <a:lnTo>
                    <a:pt x="2931745" y="1209769"/>
                  </a:lnTo>
                  <a:lnTo>
                    <a:pt x="2932896" y="1216874"/>
                  </a:lnTo>
                  <a:lnTo>
                    <a:pt x="2932029" y="1227749"/>
                  </a:lnTo>
                  <a:lnTo>
                    <a:pt x="2928823" y="1234853"/>
                  </a:lnTo>
                  <a:lnTo>
                    <a:pt x="2920073" y="1243301"/>
                  </a:lnTo>
                  <a:lnTo>
                    <a:pt x="2924441" y="1251131"/>
                  </a:lnTo>
                  <a:lnTo>
                    <a:pt x="2930674" y="1255548"/>
                  </a:lnTo>
                  <a:lnTo>
                    <a:pt x="2938031" y="1257452"/>
                  </a:lnTo>
                  <a:lnTo>
                    <a:pt x="2945728" y="1257620"/>
                  </a:lnTo>
                  <a:lnTo>
                    <a:pt x="2952808" y="1260331"/>
                  </a:lnTo>
                  <a:lnTo>
                    <a:pt x="2964784" y="1273117"/>
                  </a:lnTo>
                  <a:lnTo>
                    <a:pt x="2974475" y="1277685"/>
                  </a:lnTo>
                  <a:lnTo>
                    <a:pt x="3012650" y="1302898"/>
                  </a:lnTo>
                  <a:lnTo>
                    <a:pt x="3018354" y="1308909"/>
                  </a:lnTo>
                  <a:lnTo>
                    <a:pt x="3031478" y="1331698"/>
                  </a:lnTo>
                  <a:lnTo>
                    <a:pt x="3035284" y="1334999"/>
                  </a:lnTo>
                  <a:lnTo>
                    <a:pt x="3042039" y="1337720"/>
                  </a:lnTo>
                  <a:lnTo>
                    <a:pt x="3052750" y="1350834"/>
                  </a:lnTo>
                  <a:lnTo>
                    <a:pt x="3073946" y="1357926"/>
                  </a:lnTo>
                  <a:lnTo>
                    <a:pt x="3095354" y="1379475"/>
                  </a:lnTo>
                  <a:lnTo>
                    <a:pt x="3097477" y="1381609"/>
                  </a:lnTo>
                  <a:lnTo>
                    <a:pt x="3108783" y="1389902"/>
                  </a:lnTo>
                  <a:lnTo>
                    <a:pt x="3100249" y="1410954"/>
                  </a:lnTo>
                  <a:lnTo>
                    <a:pt x="3098322" y="1424372"/>
                  </a:lnTo>
                  <a:lnTo>
                    <a:pt x="3105127" y="1429934"/>
                  </a:lnTo>
                  <a:lnTo>
                    <a:pt x="3107096" y="1435934"/>
                  </a:lnTo>
                  <a:lnTo>
                    <a:pt x="3102122" y="1449661"/>
                  </a:lnTo>
                  <a:lnTo>
                    <a:pt x="3094481" y="1463553"/>
                  </a:lnTo>
                  <a:lnTo>
                    <a:pt x="3077368" y="1480522"/>
                  </a:lnTo>
                  <a:lnTo>
                    <a:pt x="3080596" y="1503093"/>
                  </a:lnTo>
                  <a:lnTo>
                    <a:pt x="3090298" y="1527549"/>
                  </a:lnTo>
                  <a:lnTo>
                    <a:pt x="3098567" y="1543750"/>
                  </a:lnTo>
                  <a:lnTo>
                    <a:pt x="3097067" y="1554256"/>
                  </a:lnTo>
                  <a:lnTo>
                    <a:pt x="3105406" y="1562651"/>
                  </a:lnTo>
                  <a:lnTo>
                    <a:pt x="3117599" y="1568082"/>
                  </a:lnTo>
                  <a:lnTo>
                    <a:pt x="3127663" y="1569825"/>
                  </a:lnTo>
                  <a:lnTo>
                    <a:pt x="3137700" y="1573551"/>
                  </a:lnTo>
                  <a:lnTo>
                    <a:pt x="3143708" y="1583269"/>
                  </a:lnTo>
                  <a:lnTo>
                    <a:pt x="3144287" y="1594962"/>
                  </a:lnTo>
                  <a:lnTo>
                    <a:pt x="3137986" y="1604418"/>
                  </a:lnTo>
                  <a:lnTo>
                    <a:pt x="3138194" y="1607960"/>
                  </a:lnTo>
                  <a:lnTo>
                    <a:pt x="3143723" y="1615618"/>
                  </a:lnTo>
                  <a:lnTo>
                    <a:pt x="3142863" y="1623854"/>
                  </a:lnTo>
                  <a:lnTo>
                    <a:pt x="3139708" y="1634462"/>
                  </a:lnTo>
                  <a:lnTo>
                    <a:pt x="3138438" y="1649399"/>
                  </a:lnTo>
                  <a:lnTo>
                    <a:pt x="3142431" y="1657384"/>
                  </a:lnTo>
                  <a:lnTo>
                    <a:pt x="3166239" y="1673193"/>
                  </a:lnTo>
                  <a:lnTo>
                    <a:pt x="3160264" y="1681644"/>
                  </a:lnTo>
                  <a:lnTo>
                    <a:pt x="3157866" y="1686658"/>
                  </a:lnTo>
                  <a:lnTo>
                    <a:pt x="3157044" y="1691843"/>
                  </a:lnTo>
                  <a:lnTo>
                    <a:pt x="3156699" y="1697118"/>
                  </a:lnTo>
                  <a:lnTo>
                    <a:pt x="3155530" y="1702605"/>
                  </a:lnTo>
                  <a:lnTo>
                    <a:pt x="3148754" y="1716875"/>
                  </a:lnTo>
                  <a:lnTo>
                    <a:pt x="3147190" y="1722533"/>
                  </a:lnTo>
                  <a:lnTo>
                    <a:pt x="3147993" y="1757471"/>
                  </a:lnTo>
                  <a:lnTo>
                    <a:pt x="3145661" y="1768815"/>
                  </a:lnTo>
                  <a:lnTo>
                    <a:pt x="3140836" y="1779414"/>
                  </a:lnTo>
                  <a:lnTo>
                    <a:pt x="3134860" y="1788508"/>
                  </a:lnTo>
                  <a:lnTo>
                    <a:pt x="3115825" y="1810337"/>
                  </a:lnTo>
                  <a:lnTo>
                    <a:pt x="3111758" y="1820501"/>
                  </a:lnTo>
                  <a:lnTo>
                    <a:pt x="3113504" y="1832541"/>
                  </a:lnTo>
                  <a:lnTo>
                    <a:pt x="3119812" y="1841111"/>
                  </a:lnTo>
                  <a:lnTo>
                    <a:pt x="3126453" y="1845188"/>
                  </a:lnTo>
                  <a:lnTo>
                    <a:pt x="3131722" y="1851489"/>
                  </a:lnTo>
                  <a:lnTo>
                    <a:pt x="3133976" y="1866477"/>
                  </a:lnTo>
                  <a:lnTo>
                    <a:pt x="3138466" y="1880787"/>
                  </a:lnTo>
                  <a:lnTo>
                    <a:pt x="3146978" y="1889713"/>
                  </a:lnTo>
                  <a:lnTo>
                    <a:pt x="3165003" y="1903071"/>
                  </a:lnTo>
                  <a:lnTo>
                    <a:pt x="3170156" y="1912674"/>
                  </a:lnTo>
                  <a:lnTo>
                    <a:pt x="3174485" y="1926961"/>
                  </a:lnTo>
                  <a:lnTo>
                    <a:pt x="3175957" y="1941962"/>
                  </a:lnTo>
                  <a:lnTo>
                    <a:pt x="3172452" y="1953642"/>
                  </a:lnTo>
                  <a:lnTo>
                    <a:pt x="3166202" y="1965009"/>
                  </a:lnTo>
                  <a:lnTo>
                    <a:pt x="3163952" y="1976273"/>
                  </a:lnTo>
                  <a:lnTo>
                    <a:pt x="3164975" y="1980318"/>
                  </a:lnTo>
                  <a:lnTo>
                    <a:pt x="3166488" y="1986298"/>
                  </a:lnTo>
                  <a:lnTo>
                    <a:pt x="3174825" y="1994072"/>
                  </a:lnTo>
                  <a:lnTo>
                    <a:pt x="3198491" y="2000538"/>
                  </a:lnTo>
                  <a:lnTo>
                    <a:pt x="3206303" y="2005461"/>
                  </a:lnTo>
                  <a:lnTo>
                    <a:pt x="3206306" y="2005520"/>
                  </a:lnTo>
                  <a:lnTo>
                    <a:pt x="3214702" y="2009698"/>
                  </a:lnTo>
                  <a:lnTo>
                    <a:pt x="3231679" y="2013649"/>
                  </a:lnTo>
                  <a:lnTo>
                    <a:pt x="3239961" y="2017024"/>
                  </a:lnTo>
                  <a:lnTo>
                    <a:pt x="3245776" y="2021052"/>
                  </a:lnTo>
                  <a:lnTo>
                    <a:pt x="3252780" y="2027584"/>
                  </a:lnTo>
                  <a:lnTo>
                    <a:pt x="3256941" y="2035220"/>
                  </a:lnTo>
                  <a:lnTo>
                    <a:pt x="3254366" y="2042546"/>
                  </a:lnTo>
                  <a:lnTo>
                    <a:pt x="3256619" y="2057522"/>
                  </a:lnTo>
                  <a:lnTo>
                    <a:pt x="3260243" y="2081592"/>
                  </a:lnTo>
                  <a:lnTo>
                    <a:pt x="3260276" y="2082123"/>
                  </a:lnTo>
                  <a:lnTo>
                    <a:pt x="3262454" y="2092265"/>
                  </a:lnTo>
                  <a:lnTo>
                    <a:pt x="3263692" y="2096144"/>
                  </a:lnTo>
                  <a:lnTo>
                    <a:pt x="3271010" y="2107376"/>
                  </a:lnTo>
                  <a:lnTo>
                    <a:pt x="3279678" y="2116419"/>
                  </a:lnTo>
                  <a:lnTo>
                    <a:pt x="3285578" y="2127292"/>
                  </a:lnTo>
                  <a:lnTo>
                    <a:pt x="3284766" y="2143976"/>
                  </a:lnTo>
                  <a:lnTo>
                    <a:pt x="3286169" y="2145666"/>
                  </a:lnTo>
                  <a:lnTo>
                    <a:pt x="3287745" y="2147166"/>
                  </a:lnTo>
                  <a:lnTo>
                    <a:pt x="3282367" y="2159630"/>
                  </a:lnTo>
                  <a:lnTo>
                    <a:pt x="3278471" y="2175143"/>
                  </a:lnTo>
                  <a:lnTo>
                    <a:pt x="3276543" y="2191346"/>
                  </a:lnTo>
                  <a:lnTo>
                    <a:pt x="3277028" y="2205799"/>
                  </a:lnTo>
                  <a:lnTo>
                    <a:pt x="3276741" y="2213176"/>
                  </a:lnTo>
                  <a:lnTo>
                    <a:pt x="3274607" y="2217130"/>
                  </a:lnTo>
                  <a:lnTo>
                    <a:pt x="3271993" y="2219941"/>
                  </a:lnTo>
                  <a:lnTo>
                    <a:pt x="3270311" y="2224013"/>
                  </a:lnTo>
                  <a:lnTo>
                    <a:pt x="3270027" y="2229674"/>
                  </a:lnTo>
                  <a:lnTo>
                    <a:pt x="3270628" y="2240654"/>
                  </a:lnTo>
                  <a:lnTo>
                    <a:pt x="3269956" y="2247272"/>
                  </a:lnTo>
                  <a:lnTo>
                    <a:pt x="3256422" y="2289018"/>
                  </a:lnTo>
                  <a:lnTo>
                    <a:pt x="3240906" y="2333402"/>
                  </a:lnTo>
                  <a:lnTo>
                    <a:pt x="3228964" y="2348453"/>
                  </a:lnTo>
                  <a:lnTo>
                    <a:pt x="3224367" y="2357195"/>
                  </a:lnTo>
                  <a:lnTo>
                    <a:pt x="3224960" y="2367821"/>
                  </a:lnTo>
                  <a:lnTo>
                    <a:pt x="3220169" y="2383476"/>
                  </a:lnTo>
                  <a:lnTo>
                    <a:pt x="3217131" y="2390288"/>
                  </a:lnTo>
                  <a:lnTo>
                    <a:pt x="3213866" y="2394538"/>
                  </a:lnTo>
                  <a:lnTo>
                    <a:pt x="3208145" y="2396476"/>
                  </a:lnTo>
                  <a:lnTo>
                    <a:pt x="3200300" y="2396638"/>
                  </a:lnTo>
                  <a:lnTo>
                    <a:pt x="3186744" y="2394409"/>
                  </a:lnTo>
                  <a:lnTo>
                    <a:pt x="3172351" y="2384698"/>
                  </a:lnTo>
                  <a:lnTo>
                    <a:pt x="3167046" y="2382130"/>
                  </a:lnTo>
                  <a:lnTo>
                    <a:pt x="3154327" y="2379301"/>
                  </a:lnTo>
                  <a:lnTo>
                    <a:pt x="3152334" y="2375122"/>
                  </a:lnTo>
                  <a:lnTo>
                    <a:pt x="3153023" y="2364838"/>
                  </a:lnTo>
                  <a:lnTo>
                    <a:pt x="3158311" y="2350118"/>
                  </a:lnTo>
                  <a:lnTo>
                    <a:pt x="3159962" y="2342413"/>
                  </a:lnTo>
                  <a:lnTo>
                    <a:pt x="3157661" y="2336060"/>
                  </a:lnTo>
                  <a:lnTo>
                    <a:pt x="3153304" y="2336221"/>
                  </a:lnTo>
                  <a:lnTo>
                    <a:pt x="3133871" y="2345637"/>
                  </a:lnTo>
                  <a:lnTo>
                    <a:pt x="3129558" y="2342594"/>
                  </a:lnTo>
                  <a:lnTo>
                    <a:pt x="3131141" y="2335518"/>
                  </a:lnTo>
                  <a:lnTo>
                    <a:pt x="3134994" y="2327070"/>
                  </a:lnTo>
                  <a:lnTo>
                    <a:pt x="3137396" y="2320035"/>
                  </a:lnTo>
                  <a:lnTo>
                    <a:pt x="3137582" y="2311409"/>
                  </a:lnTo>
                  <a:lnTo>
                    <a:pt x="3136155" y="2305895"/>
                  </a:lnTo>
                  <a:lnTo>
                    <a:pt x="3133152" y="2301532"/>
                  </a:lnTo>
                  <a:lnTo>
                    <a:pt x="3128511" y="2296495"/>
                  </a:lnTo>
                  <a:lnTo>
                    <a:pt x="3123898" y="2293259"/>
                  </a:lnTo>
                  <a:lnTo>
                    <a:pt x="3114070" y="2291349"/>
                  </a:lnTo>
                  <a:lnTo>
                    <a:pt x="3109443" y="2288467"/>
                  </a:lnTo>
                  <a:lnTo>
                    <a:pt x="3105806" y="2283976"/>
                  </a:lnTo>
                  <a:lnTo>
                    <a:pt x="3104393" y="2280618"/>
                  </a:lnTo>
                  <a:lnTo>
                    <a:pt x="3103424" y="2277223"/>
                  </a:lnTo>
                  <a:lnTo>
                    <a:pt x="3101080" y="2272496"/>
                  </a:lnTo>
                  <a:lnTo>
                    <a:pt x="3098396" y="2280564"/>
                  </a:lnTo>
                  <a:lnTo>
                    <a:pt x="3094430" y="2282912"/>
                  </a:lnTo>
                  <a:lnTo>
                    <a:pt x="3081362" y="2282886"/>
                  </a:lnTo>
                  <a:lnTo>
                    <a:pt x="3071544" y="2287901"/>
                  </a:lnTo>
                  <a:lnTo>
                    <a:pt x="3067566" y="2288026"/>
                  </a:lnTo>
                  <a:lnTo>
                    <a:pt x="3063555" y="2286110"/>
                  </a:lnTo>
                  <a:lnTo>
                    <a:pt x="3061049" y="2283122"/>
                  </a:lnTo>
                  <a:lnTo>
                    <a:pt x="3058987" y="2280050"/>
                  </a:lnTo>
                  <a:lnTo>
                    <a:pt x="3056146" y="2277715"/>
                  </a:lnTo>
                  <a:lnTo>
                    <a:pt x="3042555" y="2274040"/>
                  </a:lnTo>
                  <a:lnTo>
                    <a:pt x="3031221" y="2276457"/>
                  </a:lnTo>
                  <a:lnTo>
                    <a:pt x="3023070" y="2285703"/>
                  </a:lnTo>
                  <a:lnTo>
                    <a:pt x="3018873" y="2302410"/>
                  </a:lnTo>
                  <a:lnTo>
                    <a:pt x="3015161" y="2308431"/>
                  </a:lnTo>
                  <a:lnTo>
                    <a:pt x="3019503" y="2310990"/>
                  </a:lnTo>
                  <a:lnTo>
                    <a:pt x="3031737" y="2311950"/>
                  </a:lnTo>
                  <a:lnTo>
                    <a:pt x="3039061" y="2314496"/>
                  </a:lnTo>
                  <a:lnTo>
                    <a:pt x="3038565" y="2315678"/>
                  </a:lnTo>
                  <a:lnTo>
                    <a:pt x="3035628" y="2317963"/>
                  </a:lnTo>
                  <a:lnTo>
                    <a:pt x="3035608" y="2323973"/>
                  </a:lnTo>
                  <a:lnTo>
                    <a:pt x="3045270" y="2332611"/>
                  </a:lnTo>
                  <a:lnTo>
                    <a:pt x="3058755" y="2335834"/>
                  </a:lnTo>
                  <a:lnTo>
                    <a:pt x="3068649" y="2340899"/>
                  </a:lnTo>
                  <a:lnTo>
                    <a:pt x="3067252" y="2355241"/>
                  </a:lnTo>
                  <a:lnTo>
                    <a:pt x="3057159" y="2364809"/>
                  </a:lnTo>
                  <a:lnTo>
                    <a:pt x="3028782" y="2364054"/>
                  </a:lnTo>
                  <a:lnTo>
                    <a:pt x="3015965" y="2367441"/>
                  </a:lnTo>
                  <a:lnTo>
                    <a:pt x="3012254" y="2371508"/>
                  </a:lnTo>
                  <a:lnTo>
                    <a:pt x="3006171" y="2381825"/>
                  </a:lnTo>
                  <a:lnTo>
                    <a:pt x="3001986" y="2386184"/>
                  </a:lnTo>
                  <a:lnTo>
                    <a:pt x="2947053" y="2414884"/>
                  </a:lnTo>
                  <a:lnTo>
                    <a:pt x="2940137" y="2415695"/>
                  </a:lnTo>
                  <a:lnTo>
                    <a:pt x="2926849" y="2414621"/>
                  </a:lnTo>
                  <a:lnTo>
                    <a:pt x="2919872" y="2416496"/>
                  </a:lnTo>
                  <a:lnTo>
                    <a:pt x="2916124" y="2419457"/>
                  </a:lnTo>
                  <a:lnTo>
                    <a:pt x="2910937" y="2426805"/>
                  </a:lnTo>
                  <a:lnTo>
                    <a:pt x="2907374" y="2429757"/>
                  </a:lnTo>
                  <a:lnTo>
                    <a:pt x="2902852" y="2430651"/>
                  </a:lnTo>
                  <a:lnTo>
                    <a:pt x="2899293" y="2429755"/>
                  </a:lnTo>
                  <a:lnTo>
                    <a:pt x="2896239" y="2430016"/>
                  </a:lnTo>
                  <a:lnTo>
                    <a:pt x="2893108" y="2434276"/>
                  </a:lnTo>
                  <a:lnTo>
                    <a:pt x="2891836" y="2439897"/>
                  </a:lnTo>
                  <a:lnTo>
                    <a:pt x="2892510" y="2444719"/>
                  </a:lnTo>
                  <a:lnTo>
                    <a:pt x="2893557" y="2448694"/>
                  </a:lnTo>
                  <a:lnTo>
                    <a:pt x="2893510" y="2451715"/>
                  </a:lnTo>
                  <a:lnTo>
                    <a:pt x="2891210" y="2455374"/>
                  </a:lnTo>
                  <a:lnTo>
                    <a:pt x="2889152" y="2456208"/>
                  </a:lnTo>
                  <a:lnTo>
                    <a:pt x="2886950" y="2456372"/>
                  </a:lnTo>
                  <a:lnTo>
                    <a:pt x="2876790" y="2463411"/>
                  </a:lnTo>
                  <a:lnTo>
                    <a:pt x="2870348" y="2465040"/>
                  </a:lnTo>
                  <a:lnTo>
                    <a:pt x="2853670" y="2463936"/>
                  </a:lnTo>
                  <a:lnTo>
                    <a:pt x="2845894" y="2465086"/>
                  </a:lnTo>
                  <a:lnTo>
                    <a:pt x="2832367" y="2470809"/>
                  </a:lnTo>
                  <a:lnTo>
                    <a:pt x="2825456" y="2472507"/>
                  </a:lnTo>
                  <a:lnTo>
                    <a:pt x="2792959" y="2473747"/>
                  </a:lnTo>
                  <a:lnTo>
                    <a:pt x="2776676" y="2477547"/>
                  </a:lnTo>
                  <a:lnTo>
                    <a:pt x="2762242" y="2487148"/>
                  </a:lnTo>
                  <a:lnTo>
                    <a:pt x="2766799" y="2495745"/>
                  </a:lnTo>
                  <a:lnTo>
                    <a:pt x="2765699" y="2503510"/>
                  </a:lnTo>
                  <a:lnTo>
                    <a:pt x="2761131" y="2509974"/>
                  </a:lnTo>
                  <a:lnTo>
                    <a:pt x="2755292" y="2514802"/>
                  </a:lnTo>
                  <a:lnTo>
                    <a:pt x="2757579" y="2519293"/>
                  </a:lnTo>
                  <a:lnTo>
                    <a:pt x="2757385" y="2522763"/>
                  </a:lnTo>
                  <a:lnTo>
                    <a:pt x="2755324" y="2525541"/>
                  </a:lnTo>
                  <a:lnTo>
                    <a:pt x="2751811" y="2527726"/>
                  </a:lnTo>
                  <a:lnTo>
                    <a:pt x="2745840" y="2535871"/>
                  </a:lnTo>
                  <a:lnTo>
                    <a:pt x="2739923" y="2541734"/>
                  </a:lnTo>
                  <a:lnTo>
                    <a:pt x="2733243" y="2543692"/>
                  </a:lnTo>
                  <a:lnTo>
                    <a:pt x="2724986" y="2540033"/>
                  </a:lnTo>
                  <a:lnTo>
                    <a:pt x="2722467" y="2537119"/>
                  </a:lnTo>
                  <a:lnTo>
                    <a:pt x="2717027" y="2528729"/>
                  </a:lnTo>
                  <a:lnTo>
                    <a:pt x="2714991" y="2526592"/>
                  </a:lnTo>
                  <a:lnTo>
                    <a:pt x="2710506" y="2525144"/>
                  </a:lnTo>
                  <a:lnTo>
                    <a:pt x="2709522" y="2525893"/>
                  </a:lnTo>
                  <a:lnTo>
                    <a:pt x="2709380" y="2527969"/>
                  </a:lnTo>
                  <a:lnTo>
                    <a:pt x="2707300" y="2530418"/>
                  </a:lnTo>
                  <a:lnTo>
                    <a:pt x="2694077" y="2540641"/>
                  </a:lnTo>
                  <a:lnTo>
                    <a:pt x="2692194" y="2544353"/>
                  </a:lnTo>
                  <a:lnTo>
                    <a:pt x="2688782" y="2556080"/>
                  </a:lnTo>
                  <a:lnTo>
                    <a:pt x="2681319" y="2560276"/>
                  </a:lnTo>
                  <a:lnTo>
                    <a:pt x="2675177" y="2557820"/>
                  </a:lnTo>
                  <a:lnTo>
                    <a:pt x="2669131" y="2553910"/>
                  </a:lnTo>
                  <a:lnTo>
                    <a:pt x="2662056" y="2553529"/>
                  </a:lnTo>
                  <a:lnTo>
                    <a:pt x="2651190" y="2586386"/>
                  </a:lnTo>
                  <a:lnTo>
                    <a:pt x="2646323" y="2596063"/>
                  </a:lnTo>
                  <a:lnTo>
                    <a:pt x="2637630" y="2603099"/>
                  </a:lnTo>
                  <a:lnTo>
                    <a:pt x="2618429" y="2602678"/>
                  </a:lnTo>
                  <a:lnTo>
                    <a:pt x="2608299" y="2606591"/>
                  </a:lnTo>
                  <a:lnTo>
                    <a:pt x="2608226" y="2606655"/>
                  </a:lnTo>
                  <a:lnTo>
                    <a:pt x="2608188" y="2606656"/>
                  </a:lnTo>
                  <a:lnTo>
                    <a:pt x="2604914" y="2607688"/>
                  </a:lnTo>
                  <a:lnTo>
                    <a:pt x="2601504" y="2608076"/>
                  </a:lnTo>
                  <a:lnTo>
                    <a:pt x="2598111" y="2607901"/>
                  </a:lnTo>
                  <a:lnTo>
                    <a:pt x="2594884" y="2607068"/>
                  </a:lnTo>
                  <a:lnTo>
                    <a:pt x="2591992" y="2605042"/>
                  </a:lnTo>
                  <a:lnTo>
                    <a:pt x="2588963" y="2604498"/>
                  </a:lnTo>
                  <a:lnTo>
                    <a:pt x="2585945" y="2605344"/>
                  </a:lnTo>
                  <a:lnTo>
                    <a:pt x="2583012" y="2607546"/>
                  </a:lnTo>
                  <a:lnTo>
                    <a:pt x="2581452" y="2630934"/>
                  </a:lnTo>
                  <a:lnTo>
                    <a:pt x="2579443" y="2641444"/>
                  </a:lnTo>
                  <a:lnTo>
                    <a:pt x="2574499" y="2647736"/>
                  </a:lnTo>
                  <a:lnTo>
                    <a:pt x="2566824" y="2655861"/>
                  </a:lnTo>
                  <a:lnTo>
                    <a:pt x="2563988" y="2658861"/>
                  </a:lnTo>
                  <a:lnTo>
                    <a:pt x="2551502" y="2658575"/>
                  </a:lnTo>
                  <a:lnTo>
                    <a:pt x="2517105" y="2639100"/>
                  </a:lnTo>
                  <a:lnTo>
                    <a:pt x="2514028" y="2638283"/>
                  </a:lnTo>
                  <a:lnTo>
                    <a:pt x="2510777" y="2639067"/>
                  </a:lnTo>
                  <a:lnTo>
                    <a:pt x="2505769" y="2642628"/>
                  </a:lnTo>
                  <a:lnTo>
                    <a:pt x="2503539" y="2643588"/>
                  </a:lnTo>
                  <a:lnTo>
                    <a:pt x="2497001" y="2642879"/>
                  </a:lnTo>
                  <a:lnTo>
                    <a:pt x="2491180" y="2643416"/>
                  </a:lnTo>
                  <a:lnTo>
                    <a:pt x="2485302" y="2645759"/>
                  </a:lnTo>
                  <a:lnTo>
                    <a:pt x="2480779" y="2650542"/>
                  </a:lnTo>
                  <a:lnTo>
                    <a:pt x="2473107" y="2663317"/>
                  </a:lnTo>
                  <a:lnTo>
                    <a:pt x="2469160" y="2667371"/>
                  </a:lnTo>
                  <a:lnTo>
                    <a:pt x="2464431" y="2668046"/>
                  </a:lnTo>
                  <a:lnTo>
                    <a:pt x="2444855" y="2665087"/>
                  </a:lnTo>
                  <a:lnTo>
                    <a:pt x="2417648" y="2667922"/>
                  </a:lnTo>
                  <a:lnTo>
                    <a:pt x="2403081" y="2672681"/>
                  </a:lnTo>
                  <a:lnTo>
                    <a:pt x="2393225" y="2681649"/>
                  </a:lnTo>
                  <a:lnTo>
                    <a:pt x="2390577" y="2684086"/>
                  </a:lnTo>
                  <a:lnTo>
                    <a:pt x="2389374" y="2686959"/>
                  </a:lnTo>
                  <a:lnTo>
                    <a:pt x="2388699" y="2689874"/>
                  </a:lnTo>
                  <a:lnTo>
                    <a:pt x="2387790" y="2692472"/>
                  </a:lnTo>
                  <a:lnTo>
                    <a:pt x="2387898" y="2693652"/>
                  </a:lnTo>
                  <a:lnTo>
                    <a:pt x="2388440" y="2695557"/>
                  </a:lnTo>
                  <a:lnTo>
                    <a:pt x="2388728" y="2697797"/>
                  </a:lnTo>
                  <a:lnTo>
                    <a:pt x="2387993" y="2699917"/>
                  </a:lnTo>
                  <a:lnTo>
                    <a:pt x="2386544" y="2700754"/>
                  </a:lnTo>
                  <a:lnTo>
                    <a:pt x="2383261" y="2700726"/>
                  </a:lnTo>
                  <a:lnTo>
                    <a:pt x="2381962" y="2701529"/>
                  </a:lnTo>
                  <a:lnTo>
                    <a:pt x="2377730" y="2705549"/>
                  </a:lnTo>
                  <a:lnTo>
                    <a:pt x="2367179" y="2711864"/>
                  </a:lnTo>
                  <a:lnTo>
                    <a:pt x="2363359" y="2715868"/>
                  </a:lnTo>
                  <a:lnTo>
                    <a:pt x="2352578" y="2736817"/>
                  </a:lnTo>
                  <a:lnTo>
                    <a:pt x="2348537" y="2741298"/>
                  </a:lnTo>
                  <a:lnTo>
                    <a:pt x="2344532" y="2744270"/>
                  </a:lnTo>
                  <a:lnTo>
                    <a:pt x="2341662" y="2748809"/>
                  </a:lnTo>
                  <a:lnTo>
                    <a:pt x="2340912" y="2757905"/>
                  </a:lnTo>
                  <a:lnTo>
                    <a:pt x="2333929" y="2767365"/>
                  </a:lnTo>
                  <a:lnTo>
                    <a:pt x="2332099" y="2772793"/>
                  </a:lnTo>
                  <a:lnTo>
                    <a:pt x="2331220" y="2782985"/>
                  </a:lnTo>
                  <a:lnTo>
                    <a:pt x="2332495" y="2790048"/>
                  </a:lnTo>
                  <a:lnTo>
                    <a:pt x="2334769" y="2796109"/>
                  </a:lnTo>
                  <a:lnTo>
                    <a:pt x="2334897" y="2801191"/>
                  </a:lnTo>
                  <a:lnTo>
                    <a:pt x="2329881" y="2805043"/>
                  </a:lnTo>
                  <a:lnTo>
                    <a:pt x="2323615" y="2804402"/>
                  </a:lnTo>
                  <a:lnTo>
                    <a:pt x="2319763" y="2798704"/>
                  </a:lnTo>
                  <a:lnTo>
                    <a:pt x="2314986" y="2783066"/>
                  </a:lnTo>
                  <a:lnTo>
                    <a:pt x="2314535" y="2780120"/>
                  </a:lnTo>
                  <a:lnTo>
                    <a:pt x="2313811" y="2776800"/>
                  </a:lnTo>
                  <a:lnTo>
                    <a:pt x="2312207" y="2773114"/>
                  </a:lnTo>
                  <a:lnTo>
                    <a:pt x="2310567" y="2770996"/>
                  </a:lnTo>
                  <a:lnTo>
                    <a:pt x="2304020" y="2764681"/>
                  </a:lnTo>
                  <a:lnTo>
                    <a:pt x="2303043" y="2763374"/>
                  </a:lnTo>
                  <a:lnTo>
                    <a:pt x="2302635" y="2762114"/>
                  </a:lnTo>
                  <a:lnTo>
                    <a:pt x="2302947" y="2760954"/>
                  </a:lnTo>
                  <a:lnTo>
                    <a:pt x="2303903" y="2759835"/>
                  </a:lnTo>
                  <a:lnTo>
                    <a:pt x="2304347" y="2759412"/>
                  </a:lnTo>
                  <a:lnTo>
                    <a:pt x="2304830" y="2759075"/>
                  </a:lnTo>
                  <a:lnTo>
                    <a:pt x="2305317" y="2758884"/>
                  </a:lnTo>
                  <a:lnTo>
                    <a:pt x="2305882" y="2758783"/>
                  </a:lnTo>
                  <a:lnTo>
                    <a:pt x="2307428" y="2755522"/>
                  </a:lnTo>
                  <a:lnTo>
                    <a:pt x="2307554" y="2752889"/>
                  </a:lnTo>
                  <a:lnTo>
                    <a:pt x="2306294" y="2750849"/>
                  </a:lnTo>
                  <a:lnTo>
                    <a:pt x="2303653" y="2749464"/>
                  </a:lnTo>
                  <a:lnTo>
                    <a:pt x="2293145" y="2749454"/>
                  </a:lnTo>
                  <a:lnTo>
                    <a:pt x="2287779" y="2747925"/>
                  </a:lnTo>
                  <a:lnTo>
                    <a:pt x="2283615" y="2744417"/>
                  </a:lnTo>
                  <a:lnTo>
                    <a:pt x="2282075" y="2739990"/>
                  </a:lnTo>
                  <a:lnTo>
                    <a:pt x="2281959" y="2730177"/>
                  </a:lnTo>
                  <a:lnTo>
                    <a:pt x="2279684" y="2724939"/>
                  </a:lnTo>
                  <a:lnTo>
                    <a:pt x="2272549" y="2720110"/>
                  </a:lnTo>
                  <a:lnTo>
                    <a:pt x="2255004" y="2719214"/>
                  </a:lnTo>
                  <a:lnTo>
                    <a:pt x="2245788" y="2718737"/>
                  </a:lnTo>
                  <a:lnTo>
                    <a:pt x="2254399" y="2727354"/>
                  </a:lnTo>
                  <a:lnTo>
                    <a:pt x="2257458" y="2732369"/>
                  </a:lnTo>
                  <a:lnTo>
                    <a:pt x="2259001" y="2740493"/>
                  </a:lnTo>
                  <a:lnTo>
                    <a:pt x="2258486" y="2747837"/>
                  </a:lnTo>
                  <a:lnTo>
                    <a:pt x="2256090" y="2750552"/>
                  </a:lnTo>
                  <a:lnTo>
                    <a:pt x="2252368" y="2753118"/>
                  </a:lnTo>
                  <a:lnTo>
                    <a:pt x="2247949" y="2760135"/>
                  </a:lnTo>
                  <a:lnTo>
                    <a:pt x="2251879" y="2766844"/>
                  </a:lnTo>
                  <a:lnTo>
                    <a:pt x="2270208" y="2777751"/>
                  </a:lnTo>
                  <a:lnTo>
                    <a:pt x="2279399" y="2787410"/>
                  </a:lnTo>
                  <a:lnTo>
                    <a:pt x="2283672" y="2793697"/>
                  </a:lnTo>
                  <a:lnTo>
                    <a:pt x="2286632" y="2800425"/>
                  </a:lnTo>
                  <a:lnTo>
                    <a:pt x="2287894" y="2808997"/>
                  </a:lnTo>
                  <a:lnTo>
                    <a:pt x="2285624" y="2822059"/>
                  </a:lnTo>
                  <a:lnTo>
                    <a:pt x="2286051" y="2830621"/>
                  </a:lnTo>
                  <a:lnTo>
                    <a:pt x="2289438" y="2839204"/>
                  </a:lnTo>
                  <a:lnTo>
                    <a:pt x="2294743" y="2843837"/>
                  </a:lnTo>
                  <a:lnTo>
                    <a:pt x="2300700" y="2847092"/>
                  </a:lnTo>
                  <a:lnTo>
                    <a:pt x="2306119" y="2851574"/>
                  </a:lnTo>
                  <a:lnTo>
                    <a:pt x="2309517" y="2857137"/>
                  </a:lnTo>
                  <a:lnTo>
                    <a:pt x="2310417" y="2862967"/>
                  </a:lnTo>
                  <a:lnTo>
                    <a:pt x="2310620" y="2868167"/>
                  </a:lnTo>
                  <a:lnTo>
                    <a:pt x="2311884" y="2871772"/>
                  </a:lnTo>
                  <a:lnTo>
                    <a:pt x="2368222" y="2900191"/>
                  </a:lnTo>
                  <a:lnTo>
                    <a:pt x="2368602" y="2900182"/>
                  </a:lnTo>
                  <a:lnTo>
                    <a:pt x="2374371" y="2905586"/>
                  </a:lnTo>
                  <a:lnTo>
                    <a:pt x="2387935" y="2906638"/>
                  </a:lnTo>
                  <a:lnTo>
                    <a:pt x="2394289" y="2912376"/>
                  </a:lnTo>
                  <a:lnTo>
                    <a:pt x="2395467" y="2920711"/>
                  </a:lnTo>
                  <a:lnTo>
                    <a:pt x="2393130" y="2928493"/>
                  </a:lnTo>
                  <a:lnTo>
                    <a:pt x="2392881" y="2934709"/>
                  </a:lnTo>
                  <a:lnTo>
                    <a:pt x="2408187" y="2943154"/>
                  </a:lnTo>
                  <a:lnTo>
                    <a:pt x="2413494" y="2945043"/>
                  </a:lnTo>
                  <a:lnTo>
                    <a:pt x="2415893" y="2949116"/>
                  </a:lnTo>
                  <a:lnTo>
                    <a:pt x="2415062" y="2960255"/>
                  </a:lnTo>
                  <a:lnTo>
                    <a:pt x="2412336" y="2969083"/>
                  </a:lnTo>
                  <a:lnTo>
                    <a:pt x="2404278" y="2985068"/>
                  </a:lnTo>
                  <a:lnTo>
                    <a:pt x="2401814" y="2993975"/>
                  </a:lnTo>
                  <a:lnTo>
                    <a:pt x="2394358" y="2991904"/>
                  </a:lnTo>
                  <a:lnTo>
                    <a:pt x="2392328" y="3000030"/>
                  </a:lnTo>
                  <a:lnTo>
                    <a:pt x="2392462" y="3012029"/>
                  </a:lnTo>
                  <a:lnTo>
                    <a:pt x="2391533" y="3021457"/>
                  </a:lnTo>
                  <a:lnTo>
                    <a:pt x="2385817" y="3027583"/>
                  </a:lnTo>
                  <a:lnTo>
                    <a:pt x="2370723" y="3034493"/>
                  </a:lnTo>
                  <a:lnTo>
                    <a:pt x="2366596" y="3043205"/>
                  </a:lnTo>
                  <a:lnTo>
                    <a:pt x="2368586" y="3049182"/>
                  </a:lnTo>
                  <a:lnTo>
                    <a:pt x="2372598" y="3056408"/>
                  </a:lnTo>
                  <a:lnTo>
                    <a:pt x="2380531" y="3067224"/>
                  </a:lnTo>
                  <a:lnTo>
                    <a:pt x="2385971" y="3071896"/>
                  </a:lnTo>
                  <a:lnTo>
                    <a:pt x="2391733" y="3075611"/>
                  </a:lnTo>
                  <a:lnTo>
                    <a:pt x="2404204" y="3081183"/>
                  </a:lnTo>
                  <a:lnTo>
                    <a:pt x="2409402" y="3083727"/>
                  </a:lnTo>
                  <a:lnTo>
                    <a:pt x="2412628" y="3089700"/>
                  </a:lnTo>
                  <a:lnTo>
                    <a:pt x="2413106" y="3097284"/>
                  </a:lnTo>
                  <a:lnTo>
                    <a:pt x="2410162" y="3104374"/>
                  </a:lnTo>
                  <a:lnTo>
                    <a:pt x="2411140" y="3105114"/>
                  </a:lnTo>
                  <a:lnTo>
                    <a:pt x="2414127" y="3106480"/>
                  </a:lnTo>
                  <a:lnTo>
                    <a:pt x="2412490" y="3111020"/>
                  </a:lnTo>
                  <a:lnTo>
                    <a:pt x="2412261" y="3112414"/>
                  </a:lnTo>
                  <a:lnTo>
                    <a:pt x="2416178" y="3116918"/>
                  </a:lnTo>
                  <a:lnTo>
                    <a:pt x="2425159" y="3121542"/>
                  </a:lnTo>
                  <a:lnTo>
                    <a:pt x="2429186" y="3125744"/>
                  </a:lnTo>
                  <a:lnTo>
                    <a:pt x="2431966" y="3131872"/>
                  </a:lnTo>
                  <a:lnTo>
                    <a:pt x="2434049" y="3144496"/>
                  </a:lnTo>
                  <a:lnTo>
                    <a:pt x="2435734" y="3151159"/>
                  </a:lnTo>
                  <a:lnTo>
                    <a:pt x="2438306" y="3157944"/>
                  </a:lnTo>
                  <a:lnTo>
                    <a:pt x="2440791" y="3162986"/>
                  </a:lnTo>
                  <a:lnTo>
                    <a:pt x="2443828" y="3167187"/>
                  </a:lnTo>
                  <a:lnTo>
                    <a:pt x="2447977" y="3171293"/>
                  </a:lnTo>
                  <a:lnTo>
                    <a:pt x="2452195" y="3172440"/>
                  </a:lnTo>
                  <a:lnTo>
                    <a:pt x="2456092" y="3171765"/>
                  </a:lnTo>
                  <a:lnTo>
                    <a:pt x="2458920" y="3173929"/>
                  </a:lnTo>
                  <a:lnTo>
                    <a:pt x="2459700" y="3183544"/>
                  </a:lnTo>
                  <a:lnTo>
                    <a:pt x="2461322" y="3202269"/>
                  </a:lnTo>
                  <a:lnTo>
                    <a:pt x="2463438" y="3211491"/>
                  </a:lnTo>
                  <a:lnTo>
                    <a:pt x="2467907" y="3219636"/>
                  </a:lnTo>
                  <a:lnTo>
                    <a:pt x="2475350" y="3225474"/>
                  </a:lnTo>
                  <a:lnTo>
                    <a:pt x="2492737" y="3233047"/>
                  </a:lnTo>
                  <a:lnTo>
                    <a:pt x="2500471" y="3240583"/>
                  </a:lnTo>
                  <a:lnTo>
                    <a:pt x="2513511" y="3267584"/>
                  </a:lnTo>
                  <a:lnTo>
                    <a:pt x="2519591" y="3273513"/>
                  </a:lnTo>
                  <a:lnTo>
                    <a:pt x="2527068" y="3275966"/>
                  </a:lnTo>
                  <a:lnTo>
                    <a:pt x="2549119" y="3278478"/>
                  </a:lnTo>
                  <a:lnTo>
                    <a:pt x="2556058" y="3277303"/>
                  </a:lnTo>
                  <a:lnTo>
                    <a:pt x="2554164" y="3270003"/>
                  </a:lnTo>
                  <a:lnTo>
                    <a:pt x="2559230" y="3268210"/>
                  </a:lnTo>
                  <a:lnTo>
                    <a:pt x="2573603" y="3271664"/>
                  </a:lnTo>
                  <a:lnTo>
                    <a:pt x="2580030" y="3274846"/>
                  </a:lnTo>
                  <a:lnTo>
                    <a:pt x="2585567" y="3279034"/>
                  </a:lnTo>
                  <a:lnTo>
                    <a:pt x="2596419" y="3289811"/>
                  </a:lnTo>
                  <a:lnTo>
                    <a:pt x="2602982" y="3292276"/>
                  </a:lnTo>
                  <a:lnTo>
                    <a:pt x="2605223" y="3296871"/>
                  </a:lnTo>
                  <a:lnTo>
                    <a:pt x="2605913" y="3302376"/>
                  </a:lnTo>
                  <a:lnTo>
                    <a:pt x="2607791" y="3307633"/>
                  </a:lnTo>
                  <a:lnTo>
                    <a:pt x="2620195" y="3321423"/>
                  </a:lnTo>
                  <a:lnTo>
                    <a:pt x="2620196" y="3321453"/>
                  </a:lnTo>
                  <a:lnTo>
                    <a:pt x="2620276" y="3321509"/>
                  </a:lnTo>
                  <a:lnTo>
                    <a:pt x="2624995" y="3323973"/>
                  </a:lnTo>
                  <a:lnTo>
                    <a:pt x="2661659" y="3370351"/>
                  </a:lnTo>
                  <a:lnTo>
                    <a:pt x="2666973" y="3381423"/>
                  </a:lnTo>
                  <a:lnTo>
                    <a:pt x="2673275" y="3390802"/>
                  </a:lnTo>
                  <a:lnTo>
                    <a:pt x="2684097" y="3396609"/>
                  </a:lnTo>
                  <a:lnTo>
                    <a:pt x="2706758" y="3396818"/>
                  </a:lnTo>
                  <a:lnTo>
                    <a:pt x="2714369" y="3399423"/>
                  </a:lnTo>
                  <a:lnTo>
                    <a:pt x="2719084" y="3403204"/>
                  </a:lnTo>
                  <a:lnTo>
                    <a:pt x="2731042" y="3418029"/>
                  </a:lnTo>
                  <a:lnTo>
                    <a:pt x="2747581" y="3433646"/>
                  </a:lnTo>
                  <a:lnTo>
                    <a:pt x="2752152" y="3443431"/>
                  </a:lnTo>
                  <a:lnTo>
                    <a:pt x="2753013" y="3459456"/>
                  </a:lnTo>
                  <a:lnTo>
                    <a:pt x="2758744" y="3468011"/>
                  </a:lnTo>
                  <a:lnTo>
                    <a:pt x="2769924" y="3477707"/>
                  </a:lnTo>
                  <a:lnTo>
                    <a:pt x="2782133" y="3485759"/>
                  </a:lnTo>
                  <a:lnTo>
                    <a:pt x="2791070" y="3489622"/>
                  </a:lnTo>
                  <a:lnTo>
                    <a:pt x="2794546" y="3479512"/>
                  </a:lnTo>
                  <a:lnTo>
                    <a:pt x="2797857" y="3473074"/>
                  </a:lnTo>
                  <a:lnTo>
                    <a:pt x="2802956" y="3470467"/>
                  </a:lnTo>
                  <a:lnTo>
                    <a:pt x="2805394" y="3470881"/>
                  </a:lnTo>
                  <a:lnTo>
                    <a:pt x="2811638" y="3471939"/>
                  </a:lnTo>
                  <a:lnTo>
                    <a:pt x="2818396" y="3475708"/>
                  </a:lnTo>
                  <a:lnTo>
                    <a:pt x="2824968" y="3480546"/>
                  </a:lnTo>
                  <a:lnTo>
                    <a:pt x="2831516" y="3483818"/>
                  </a:lnTo>
                  <a:lnTo>
                    <a:pt x="2838310" y="3482760"/>
                  </a:lnTo>
                  <a:lnTo>
                    <a:pt x="2839696" y="3493526"/>
                  </a:lnTo>
                  <a:lnTo>
                    <a:pt x="2844132" y="3503747"/>
                  </a:lnTo>
                  <a:lnTo>
                    <a:pt x="2850372" y="3512411"/>
                  </a:lnTo>
                  <a:lnTo>
                    <a:pt x="2857053" y="3518541"/>
                  </a:lnTo>
                  <a:lnTo>
                    <a:pt x="2864304" y="3521596"/>
                  </a:lnTo>
                  <a:lnTo>
                    <a:pt x="2878401" y="3523196"/>
                  </a:lnTo>
                  <a:lnTo>
                    <a:pt x="2883812" y="3525915"/>
                  </a:lnTo>
                  <a:lnTo>
                    <a:pt x="2893153" y="3539195"/>
                  </a:lnTo>
                  <a:lnTo>
                    <a:pt x="2912919" y="3574690"/>
                  </a:lnTo>
                  <a:lnTo>
                    <a:pt x="2920616" y="3582003"/>
                  </a:lnTo>
                  <a:lnTo>
                    <a:pt x="2910424" y="3606309"/>
                  </a:lnTo>
                  <a:lnTo>
                    <a:pt x="2909808" y="3611779"/>
                  </a:lnTo>
                  <a:lnTo>
                    <a:pt x="2911725" y="3610982"/>
                  </a:lnTo>
                  <a:lnTo>
                    <a:pt x="2916091" y="3618742"/>
                  </a:lnTo>
                  <a:lnTo>
                    <a:pt x="2918040" y="3620399"/>
                  </a:lnTo>
                  <a:lnTo>
                    <a:pt x="2922857" y="3622457"/>
                  </a:lnTo>
                  <a:lnTo>
                    <a:pt x="2918044" y="3627500"/>
                  </a:lnTo>
                  <a:lnTo>
                    <a:pt x="2917373" y="3634363"/>
                  </a:lnTo>
                  <a:lnTo>
                    <a:pt x="2920185" y="3652722"/>
                  </a:lnTo>
                  <a:lnTo>
                    <a:pt x="2920340" y="3662330"/>
                  </a:lnTo>
                  <a:lnTo>
                    <a:pt x="2919536" y="3670621"/>
                  </a:lnTo>
                  <a:lnTo>
                    <a:pt x="2917527" y="3678226"/>
                  </a:lnTo>
                  <a:lnTo>
                    <a:pt x="2911667" y="3692599"/>
                  </a:lnTo>
                  <a:lnTo>
                    <a:pt x="2909989" y="3695382"/>
                  </a:lnTo>
                  <a:lnTo>
                    <a:pt x="2907000" y="3698637"/>
                  </a:lnTo>
                  <a:lnTo>
                    <a:pt x="2904048" y="3700070"/>
                  </a:lnTo>
                  <a:lnTo>
                    <a:pt x="2896247" y="3701692"/>
                  </a:lnTo>
                  <a:lnTo>
                    <a:pt x="2894945" y="3701453"/>
                  </a:lnTo>
                  <a:lnTo>
                    <a:pt x="2892023" y="3708104"/>
                  </a:lnTo>
                  <a:lnTo>
                    <a:pt x="2889322" y="3723502"/>
                  </a:lnTo>
                  <a:lnTo>
                    <a:pt x="2888463" y="3722667"/>
                  </a:lnTo>
                  <a:lnTo>
                    <a:pt x="2872654" y="3716336"/>
                  </a:lnTo>
                  <a:lnTo>
                    <a:pt x="2866487" y="3707673"/>
                  </a:lnTo>
                  <a:lnTo>
                    <a:pt x="2860155" y="3703362"/>
                  </a:lnTo>
                  <a:lnTo>
                    <a:pt x="2853399" y="3700074"/>
                  </a:lnTo>
                  <a:lnTo>
                    <a:pt x="2813749" y="3690749"/>
                  </a:lnTo>
                  <a:lnTo>
                    <a:pt x="2801158" y="3692983"/>
                  </a:lnTo>
                  <a:lnTo>
                    <a:pt x="2788996" y="3698139"/>
                  </a:lnTo>
                  <a:lnTo>
                    <a:pt x="2785722" y="3701436"/>
                  </a:lnTo>
                  <a:lnTo>
                    <a:pt x="2783808" y="3705491"/>
                  </a:lnTo>
                  <a:lnTo>
                    <a:pt x="2784125" y="3707550"/>
                  </a:lnTo>
                  <a:lnTo>
                    <a:pt x="2785361" y="3710072"/>
                  </a:lnTo>
                  <a:lnTo>
                    <a:pt x="2787296" y="3720315"/>
                  </a:lnTo>
                  <a:lnTo>
                    <a:pt x="2791036" y="3725680"/>
                  </a:lnTo>
                  <a:lnTo>
                    <a:pt x="2792058" y="3730663"/>
                  </a:lnTo>
                  <a:lnTo>
                    <a:pt x="2791224" y="3736273"/>
                  </a:lnTo>
                  <a:lnTo>
                    <a:pt x="2786566" y="3747301"/>
                  </a:lnTo>
                  <a:lnTo>
                    <a:pt x="2784973" y="3752614"/>
                  </a:lnTo>
                  <a:lnTo>
                    <a:pt x="2784479" y="3757958"/>
                  </a:lnTo>
                  <a:lnTo>
                    <a:pt x="2785824" y="3774065"/>
                  </a:lnTo>
                  <a:lnTo>
                    <a:pt x="2785276" y="3780047"/>
                  </a:lnTo>
                  <a:lnTo>
                    <a:pt x="2783746" y="3784040"/>
                  </a:lnTo>
                  <a:lnTo>
                    <a:pt x="2782138" y="3787063"/>
                  </a:lnTo>
                  <a:lnTo>
                    <a:pt x="2781510" y="3790046"/>
                  </a:lnTo>
                  <a:lnTo>
                    <a:pt x="2779831" y="3802254"/>
                  </a:lnTo>
                  <a:lnTo>
                    <a:pt x="2774884" y="3811367"/>
                  </a:lnTo>
                  <a:lnTo>
                    <a:pt x="2738999" y="3845365"/>
                  </a:lnTo>
                  <a:lnTo>
                    <a:pt x="2726499" y="3853016"/>
                  </a:lnTo>
                  <a:lnTo>
                    <a:pt x="2674446" y="3864139"/>
                  </a:lnTo>
                  <a:lnTo>
                    <a:pt x="2635555" y="3881255"/>
                  </a:lnTo>
                  <a:lnTo>
                    <a:pt x="2629568" y="3885852"/>
                  </a:lnTo>
                  <a:lnTo>
                    <a:pt x="2615863" y="3899984"/>
                  </a:lnTo>
                  <a:lnTo>
                    <a:pt x="2603810" y="3907266"/>
                  </a:lnTo>
                  <a:lnTo>
                    <a:pt x="2598062" y="3912250"/>
                  </a:lnTo>
                  <a:lnTo>
                    <a:pt x="2598619" y="3913591"/>
                  </a:lnTo>
                  <a:lnTo>
                    <a:pt x="2577645" y="3918412"/>
                  </a:lnTo>
                  <a:lnTo>
                    <a:pt x="2571993" y="3921685"/>
                  </a:lnTo>
                  <a:lnTo>
                    <a:pt x="2568648" y="3925609"/>
                  </a:lnTo>
                  <a:lnTo>
                    <a:pt x="2562024" y="3936850"/>
                  </a:lnTo>
                  <a:lnTo>
                    <a:pt x="2557238" y="3942739"/>
                  </a:lnTo>
                  <a:lnTo>
                    <a:pt x="2542392" y="3953882"/>
                  </a:lnTo>
                  <a:lnTo>
                    <a:pt x="2540912" y="3955820"/>
                  </a:lnTo>
                  <a:lnTo>
                    <a:pt x="2535732" y="3964541"/>
                  </a:lnTo>
                  <a:lnTo>
                    <a:pt x="2533437" y="3965678"/>
                  </a:lnTo>
                  <a:lnTo>
                    <a:pt x="2530948" y="3965638"/>
                  </a:lnTo>
                  <a:lnTo>
                    <a:pt x="2528528" y="3966555"/>
                  </a:lnTo>
                  <a:lnTo>
                    <a:pt x="2526325" y="3970732"/>
                  </a:lnTo>
                  <a:lnTo>
                    <a:pt x="2525808" y="3978462"/>
                  </a:lnTo>
                  <a:lnTo>
                    <a:pt x="2527970" y="3985934"/>
                  </a:lnTo>
                  <a:lnTo>
                    <a:pt x="2531575" y="3992708"/>
                  </a:lnTo>
                  <a:lnTo>
                    <a:pt x="2535301" y="3998237"/>
                  </a:lnTo>
                  <a:lnTo>
                    <a:pt x="2563084" y="4025615"/>
                  </a:lnTo>
                  <a:lnTo>
                    <a:pt x="2569219" y="4038187"/>
                  </a:lnTo>
                  <a:lnTo>
                    <a:pt x="2570426" y="4044301"/>
                  </a:lnTo>
                  <a:lnTo>
                    <a:pt x="2570587" y="4045118"/>
                  </a:lnTo>
                  <a:lnTo>
                    <a:pt x="2572834" y="4051031"/>
                  </a:lnTo>
                  <a:lnTo>
                    <a:pt x="2576064" y="4055465"/>
                  </a:lnTo>
                  <a:lnTo>
                    <a:pt x="2585422" y="4060685"/>
                  </a:lnTo>
                  <a:lnTo>
                    <a:pt x="2593399" y="4068417"/>
                  </a:lnTo>
                  <a:lnTo>
                    <a:pt x="2596541" y="4069983"/>
                  </a:lnTo>
                  <a:lnTo>
                    <a:pt x="2603202" y="4076115"/>
                  </a:lnTo>
                  <a:lnTo>
                    <a:pt x="2617194" y="4105914"/>
                  </a:lnTo>
                  <a:lnTo>
                    <a:pt x="2625893" y="4118033"/>
                  </a:lnTo>
                  <a:lnTo>
                    <a:pt x="2627738" y="4119773"/>
                  </a:lnTo>
                  <a:lnTo>
                    <a:pt x="2604292" y="4160445"/>
                  </a:lnTo>
                  <a:lnTo>
                    <a:pt x="2602334" y="4165004"/>
                  </a:lnTo>
                  <a:lnTo>
                    <a:pt x="2601697" y="4168660"/>
                  </a:lnTo>
                  <a:lnTo>
                    <a:pt x="2601697" y="4172326"/>
                  </a:lnTo>
                  <a:lnTo>
                    <a:pt x="2601145" y="4176128"/>
                  </a:lnTo>
                  <a:lnTo>
                    <a:pt x="2598813" y="4180255"/>
                  </a:lnTo>
                  <a:lnTo>
                    <a:pt x="2598814" y="4180284"/>
                  </a:lnTo>
                  <a:lnTo>
                    <a:pt x="2598736" y="4180345"/>
                  </a:lnTo>
                  <a:lnTo>
                    <a:pt x="2591939" y="4191655"/>
                  </a:lnTo>
                  <a:lnTo>
                    <a:pt x="2598427" y="4197840"/>
                  </a:lnTo>
                  <a:lnTo>
                    <a:pt x="2619992" y="4201122"/>
                  </a:lnTo>
                  <a:lnTo>
                    <a:pt x="2625725" y="4199936"/>
                  </a:lnTo>
                  <a:lnTo>
                    <a:pt x="2635323" y="4195306"/>
                  </a:lnTo>
                  <a:lnTo>
                    <a:pt x="2641320" y="4196059"/>
                  </a:lnTo>
                  <a:lnTo>
                    <a:pt x="2646213" y="4199495"/>
                  </a:lnTo>
                  <a:lnTo>
                    <a:pt x="2651142" y="4205073"/>
                  </a:lnTo>
                  <a:lnTo>
                    <a:pt x="2659102" y="4217709"/>
                  </a:lnTo>
                  <a:lnTo>
                    <a:pt x="2662452" y="4225898"/>
                  </a:lnTo>
                  <a:lnTo>
                    <a:pt x="2663780" y="4233184"/>
                  </a:lnTo>
                  <a:lnTo>
                    <a:pt x="2663781" y="4240129"/>
                  </a:lnTo>
                  <a:lnTo>
                    <a:pt x="2663183" y="4247068"/>
                  </a:lnTo>
                  <a:lnTo>
                    <a:pt x="2662270" y="4248342"/>
                  </a:lnTo>
                  <a:lnTo>
                    <a:pt x="2658078" y="4259826"/>
                  </a:lnTo>
                  <a:lnTo>
                    <a:pt x="2657893" y="4261414"/>
                  </a:lnTo>
                  <a:lnTo>
                    <a:pt x="2651955" y="4269810"/>
                  </a:lnTo>
                  <a:lnTo>
                    <a:pt x="2650905" y="4269462"/>
                  </a:lnTo>
                  <a:lnTo>
                    <a:pt x="2651666" y="4282412"/>
                  </a:lnTo>
                  <a:lnTo>
                    <a:pt x="2652492" y="4282059"/>
                  </a:lnTo>
                  <a:lnTo>
                    <a:pt x="2652082" y="4282900"/>
                  </a:lnTo>
                  <a:lnTo>
                    <a:pt x="2648727" y="4292284"/>
                  </a:lnTo>
                  <a:lnTo>
                    <a:pt x="2647820" y="4293808"/>
                  </a:lnTo>
                  <a:lnTo>
                    <a:pt x="2648157" y="4303760"/>
                  </a:lnTo>
                  <a:lnTo>
                    <a:pt x="2648596" y="4307290"/>
                  </a:lnTo>
                  <a:lnTo>
                    <a:pt x="2649581" y="4310389"/>
                  </a:lnTo>
                  <a:lnTo>
                    <a:pt x="2650917" y="4313269"/>
                  </a:lnTo>
                  <a:lnTo>
                    <a:pt x="2652033" y="4316704"/>
                  </a:lnTo>
                  <a:lnTo>
                    <a:pt x="2652315" y="4321453"/>
                  </a:lnTo>
                  <a:lnTo>
                    <a:pt x="2641735" y="4334945"/>
                  </a:lnTo>
                  <a:lnTo>
                    <a:pt x="2639136" y="4337369"/>
                  </a:lnTo>
                  <a:lnTo>
                    <a:pt x="2634987" y="4337704"/>
                  </a:lnTo>
                  <a:lnTo>
                    <a:pt x="2632541" y="4336310"/>
                  </a:lnTo>
                  <a:lnTo>
                    <a:pt x="2630308" y="4334111"/>
                  </a:lnTo>
                  <a:lnTo>
                    <a:pt x="2626527" y="4332243"/>
                  </a:lnTo>
                  <a:lnTo>
                    <a:pt x="2622497" y="4332498"/>
                  </a:lnTo>
                  <a:lnTo>
                    <a:pt x="2619359" y="4334350"/>
                  </a:lnTo>
                  <a:lnTo>
                    <a:pt x="2616120" y="4335595"/>
                  </a:lnTo>
                  <a:lnTo>
                    <a:pt x="2611829" y="4334011"/>
                  </a:lnTo>
                  <a:lnTo>
                    <a:pt x="2592436" y="4320319"/>
                  </a:lnTo>
                  <a:lnTo>
                    <a:pt x="2574176" y="4301421"/>
                  </a:lnTo>
                  <a:lnTo>
                    <a:pt x="2570822" y="4298898"/>
                  </a:lnTo>
                  <a:lnTo>
                    <a:pt x="2567151" y="4297715"/>
                  </a:lnTo>
                  <a:lnTo>
                    <a:pt x="2561174" y="4296872"/>
                  </a:lnTo>
                  <a:lnTo>
                    <a:pt x="2551402" y="4289465"/>
                  </a:lnTo>
                  <a:lnTo>
                    <a:pt x="2548937" y="4275431"/>
                  </a:lnTo>
                  <a:lnTo>
                    <a:pt x="2553234" y="4262040"/>
                  </a:lnTo>
                  <a:lnTo>
                    <a:pt x="2563592" y="4256479"/>
                  </a:lnTo>
                  <a:lnTo>
                    <a:pt x="2555714" y="4249311"/>
                  </a:lnTo>
                  <a:lnTo>
                    <a:pt x="2545513" y="4243010"/>
                  </a:lnTo>
                  <a:lnTo>
                    <a:pt x="2539235" y="4235760"/>
                  </a:lnTo>
                  <a:lnTo>
                    <a:pt x="2542912" y="4225655"/>
                  </a:lnTo>
                  <a:lnTo>
                    <a:pt x="2536331" y="4226717"/>
                  </a:lnTo>
                  <a:lnTo>
                    <a:pt x="2514553" y="4221796"/>
                  </a:lnTo>
                  <a:lnTo>
                    <a:pt x="2500824" y="4222208"/>
                  </a:lnTo>
                  <a:lnTo>
                    <a:pt x="2487188" y="4225923"/>
                  </a:lnTo>
                  <a:lnTo>
                    <a:pt x="2479969" y="4229827"/>
                  </a:lnTo>
                  <a:lnTo>
                    <a:pt x="2466821" y="4242283"/>
                  </a:lnTo>
                  <a:lnTo>
                    <a:pt x="2463237" y="4245675"/>
                  </a:lnTo>
                  <a:lnTo>
                    <a:pt x="2457297" y="4248518"/>
                  </a:lnTo>
                  <a:lnTo>
                    <a:pt x="2449215" y="4250341"/>
                  </a:lnTo>
                  <a:lnTo>
                    <a:pt x="2441281" y="4250355"/>
                  </a:lnTo>
                  <a:lnTo>
                    <a:pt x="2435793" y="4247832"/>
                  </a:lnTo>
                  <a:lnTo>
                    <a:pt x="2424077" y="4238901"/>
                  </a:lnTo>
                  <a:lnTo>
                    <a:pt x="2420873" y="4235249"/>
                  </a:lnTo>
                  <a:lnTo>
                    <a:pt x="2418640" y="4230625"/>
                  </a:lnTo>
                  <a:lnTo>
                    <a:pt x="2414301" y="4218552"/>
                  </a:lnTo>
                  <a:lnTo>
                    <a:pt x="2412425" y="4215308"/>
                  </a:lnTo>
                  <a:lnTo>
                    <a:pt x="2406067" y="4214235"/>
                  </a:lnTo>
                  <a:lnTo>
                    <a:pt x="2391095" y="4220448"/>
                  </a:lnTo>
                  <a:lnTo>
                    <a:pt x="2384595" y="4221680"/>
                  </a:lnTo>
                  <a:lnTo>
                    <a:pt x="2362232" y="4217489"/>
                  </a:lnTo>
                  <a:lnTo>
                    <a:pt x="2353865" y="4218907"/>
                  </a:lnTo>
                  <a:lnTo>
                    <a:pt x="2345377" y="4223622"/>
                  </a:lnTo>
                  <a:lnTo>
                    <a:pt x="2341213" y="4224360"/>
                  </a:lnTo>
                  <a:lnTo>
                    <a:pt x="2337312" y="4221040"/>
                  </a:lnTo>
                  <a:lnTo>
                    <a:pt x="2335055" y="4214786"/>
                  </a:lnTo>
                  <a:lnTo>
                    <a:pt x="2336235" y="4210768"/>
                  </a:lnTo>
                  <a:lnTo>
                    <a:pt x="2338621" y="4207281"/>
                  </a:lnTo>
                  <a:lnTo>
                    <a:pt x="2339867" y="4202732"/>
                  </a:lnTo>
                  <a:lnTo>
                    <a:pt x="2340717" y="4196608"/>
                  </a:lnTo>
                  <a:lnTo>
                    <a:pt x="2341848" y="4193967"/>
                  </a:lnTo>
                  <a:lnTo>
                    <a:pt x="2340899" y="4194182"/>
                  </a:lnTo>
                  <a:lnTo>
                    <a:pt x="2335350" y="4196783"/>
                  </a:lnTo>
                  <a:lnTo>
                    <a:pt x="2332059" y="4198960"/>
                  </a:lnTo>
                  <a:lnTo>
                    <a:pt x="2322972" y="4206917"/>
                  </a:lnTo>
                  <a:lnTo>
                    <a:pt x="2316942" y="4209541"/>
                  </a:lnTo>
                  <a:lnTo>
                    <a:pt x="2317805" y="4214189"/>
                  </a:lnTo>
                  <a:lnTo>
                    <a:pt x="2319110" y="4217321"/>
                  </a:lnTo>
                  <a:lnTo>
                    <a:pt x="2322021" y="4221005"/>
                  </a:lnTo>
                  <a:lnTo>
                    <a:pt x="2325237" y="4224061"/>
                  </a:lnTo>
                  <a:lnTo>
                    <a:pt x="2327217" y="4225330"/>
                  </a:lnTo>
                  <a:lnTo>
                    <a:pt x="2328365" y="4228450"/>
                  </a:lnTo>
                  <a:lnTo>
                    <a:pt x="2329356" y="4243702"/>
                  </a:lnTo>
                  <a:lnTo>
                    <a:pt x="2329082" y="4249057"/>
                  </a:lnTo>
                  <a:lnTo>
                    <a:pt x="2327772" y="4252737"/>
                  </a:lnTo>
                  <a:lnTo>
                    <a:pt x="2317098" y="4267143"/>
                  </a:lnTo>
                  <a:lnTo>
                    <a:pt x="2314043" y="4267849"/>
                  </a:lnTo>
                  <a:lnTo>
                    <a:pt x="2225355" y="4265901"/>
                  </a:lnTo>
                  <a:lnTo>
                    <a:pt x="2193113" y="4273149"/>
                  </a:lnTo>
                  <a:lnTo>
                    <a:pt x="2188814" y="4275830"/>
                  </a:lnTo>
                  <a:lnTo>
                    <a:pt x="2185124" y="4285620"/>
                  </a:lnTo>
                  <a:lnTo>
                    <a:pt x="2181160" y="4287024"/>
                  </a:lnTo>
                  <a:lnTo>
                    <a:pt x="2159344" y="4282943"/>
                  </a:lnTo>
                  <a:lnTo>
                    <a:pt x="2127915" y="4283353"/>
                  </a:lnTo>
                  <a:lnTo>
                    <a:pt x="2111032" y="4280263"/>
                  </a:lnTo>
                  <a:lnTo>
                    <a:pt x="2103890" y="4280142"/>
                  </a:lnTo>
                  <a:lnTo>
                    <a:pt x="2102599" y="4281815"/>
                  </a:lnTo>
                  <a:lnTo>
                    <a:pt x="2091973" y="4291349"/>
                  </a:lnTo>
                  <a:lnTo>
                    <a:pt x="2089431" y="4297444"/>
                  </a:lnTo>
                  <a:lnTo>
                    <a:pt x="2086595" y="4310723"/>
                  </a:lnTo>
                  <a:lnTo>
                    <a:pt x="2084718" y="4316037"/>
                  </a:lnTo>
                  <a:lnTo>
                    <a:pt x="2077804" y="4323971"/>
                  </a:lnTo>
                  <a:lnTo>
                    <a:pt x="2069465" y="4327433"/>
                  </a:lnTo>
                  <a:lnTo>
                    <a:pt x="2051373" y="4330706"/>
                  </a:lnTo>
                  <a:lnTo>
                    <a:pt x="2042588" y="4328050"/>
                  </a:lnTo>
                  <a:lnTo>
                    <a:pt x="2033065" y="4326879"/>
                  </a:lnTo>
                  <a:lnTo>
                    <a:pt x="2024304" y="4329065"/>
                  </a:lnTo>
                  <a:lnTo>
                    <a:pt x="2006344" y="4350312"/>
                  </a:lnTo>
                  <a:lnTo>
                    <a:pt x="2011117" y="4351552"/>
                  </a:lnTo>
                  <a:lnTo>
                    <a:pt x="2015349" y="4354261"/>
                  </a:lnTo>
                  <a:lnTo>
                    <a:pt x="2016881" y="4358494"/>
                  </a:lnTo>
                  <a:lnTo>
                    <a:pt x="2013632" y="4364207"/>
                  </a:lnTo>
                  <a:lnTo>
                    <a:pt x="2007386" y="4366989"/>
                  </a:lnTo>
                  <a:lnTo>
                    <a:pt x="1990593" y="4367594"/>
                  </a:lnTo>
                  <a:lnTo>
                    <a:pt x="1983419" y="4369981"/>
                  </a:lnTo>
                  <a:lnTo>
                    <a:pt x="1976017" y="4377037"/>
                  </a:lnTo>
                  <a:lnTo>
                    <a:pt x="1970971" y="4384007"/>
                  </a:lnTo>
                  <a:lnTo>
                    <a:pt x="1965512" y="4390005"/>
                  </a:lnTo>
                  <a:lnTo>
                    <a:pt x="1957108" y="4393967"/>
                  </a:lnTo>
                  <a:lnTo>
                    <a:pt x="1947809" y="4393001"/>
                  </a:lnTo>
                  <a:lnTo>
                    <a:pt x="1948492" y="4377458"/>
                  </a:lnTo>
                  <a:lnTo>
                    <a:pt x="1940176" y="4374146"/>
                  </a:lnTo>
                  <a:lnTo>
                    <a:pt x="1930441" y="4376916"/>
                  </a:lnTo>
                  <a:lnTo>
                    <a:pt x="1905308" y="4394697"/>
                  </a:lnTo>
                  <a:lnTo>
                    <a:pt x="1897761" y="4397083"/>
                  </a:lnTo>
                  <a:lnTo>
                    <a:pt x="1857360" y="4396814"/>
                  </a:lnTo>
                  <a:lnTo>
                    <a:pt x="1851934" y="4393692"/>
                  </a:lnTo>
                  <a:lnTo>
                    <a:pt x="1847918" y="4385981"/>
                  </a:lnTo>
                  <a:lnTo>
                    <a:pt x="1848838" y="4385916"/>
                  </a:lnTo>
                  <a:lnTo>
                    <a:pt x="1850061" y="4383278"/>
                  </a:lnTo>
                  <a:lnTo>
                    <a:pt x="1850914" y="4379314"/>
                  </a:lnTo>
                  <a:lnTo>
                    <a:pt x="1850768" y="4375475"/>
                  </a:lnTo>
                  <a:lnTo>
                    <a:pt x="1849590" y="4372885"/>
                  </a:lnTo>
                  <a:lnTo>
                    <a:pt x="1830139" y="4352160"/>
                  </a:lnTo>
                  <a:lnTo>
                    <a:pt x="1810180" y="4343034"/>
                  </a:lnTo>
                  <a:lnTo>
                    <a:pt x="1807518" y="4338516"/>
                  </a:lnTo>
                  <a:lnTo>
                    <a:pt x="1819935" y="4329920"/>
                  </a:lnTo>
                  <a:lnTo>
                    <a:pt x="1823147" y="4325974"/>
                  </a:lnTo>
                  <a:lnTo>
                    <a:pt x="1814243" y="4319335"/>
                  </a:lnTo>
                  <a:lnTo>
                    <a:pt x="1810117" y="4317025"/>
                  </a:lnTo>
                  <a:lnTo>
                    <a:pt x="1804765" y="4316686"/>
                  </a:lnTo>
                  <a:lnTo>
                    <a:pt x="1799303" y="4318281"/>
                  </a:lnTo>
                  <a:lnTo>
                    <a:pt x="1783763" y="4325507"/>
                  </a:lnTo>
                  <a:lnTo>
                    <a:pt x="1772346" y="4326948"/>
                  </a:lnTo>
                  <a:lnTo>
                    <a:pt x="1769027" y="4325957"/>
                  </a:lnTo>
                  <a:lnTo>
                    <a:pt x="1767099" y="4323248"/>
                  </a:lnTo>
                  <a:lnTo>
                    <a:pt x="1765809" y="4320299"/>
                  </a:lnTo>
                  <a:lnTo>
                    <a:pt x="1764244" y="4318504"/>
                  </a:lnTo>
                  <a:lnTo>
                    <a:pt x="1713210" y="4299347"/>
                  </a:lnTo>
                  <a:lnTo>
                    <a:pt x="1703873" y="4299249"/>
                  </a:lnTo>
                  <a:lnTo>
                    <a:pt x="1698532" y="4302996"/>
                  </a:lnTo>
                  <a:lnTo>
                    <a:pt x="1690726" y="4313953"/>
                  </a:lnTo>
                  <a:lnTo>
                    <a:pt x="1685821" y="4317918"/>
                  </a:lnTo>
                  <a:lnTo>
                    <a:pt x="1681269" y="4318721"/>
                  </a:lnTo>
                  <a:lnTo>
                    <a:pt x="1664816" y="4316224"/>
                  </a:lnTo>
                  <a:lnTo>
                    <a:pt x="1658786" y="4313452"/>
                  </a:lnTo>
                  <a:lnTo>
                    <a:pt x="1655631" y="4311207"/>
                  </a:lnTo>
                  <a:lnTo>
                    <a:pt x="1653595" y="4308580"/>
                  </a:lnTo>
                  <a:lnTo>
                    <a:pt x="1652916" y="4303676"/>
                  </a:lnTo>
                  <a:lnTo>
                    <a:pt x="1654352" y="4300043"/>
                  </a:lnTo>
                  <a:lnTo>
                    <a:pt x="1656226" y="4297295"/>
                  </a:lnTo>
                  <a:lnTo>
                    <a:pt x="1656704" y="4295049"/>
                  </a:lnTo>
                  <a:lnTo>
                    <a:pt x="1654987" y="4289718"/>
                  </a:lnTo>
                  <a:lnTo>
                    <a:pt x="1653631" y="4288656"/>
                  </a:lnTo>
                  <a:lnTo>
                    <a:pt x="1650679" y="4289823"/>
                  </a:lnTo>
                  <a:lnTo>
                    <a:pt x="1644217" y="4290990"/>
                  </a:lnTo>
                  <a:lnTo>
                    <a:pt x="1638431" y="4293278"/>
                  </a:lnTo>
                  <a:lnTo>
                    <a:pt x="1638989" y="4298211"/>
                  </a:lnTo>
                  <a:lnTo>
                    <a:pt x="1642339" y="4304518"/>
                  </a:lnTo>
                  <a:lnTo>
                    <a:pt x="1644893" y="4310913"/>
                  </a:lnTo>
                  <a:lnTo>
                    <a:pt x="1644413" y="4316201"/>
                  </a:lnTo>
                  <a:lnTo>
                    <a:pt x="1640495" y="4338989"/>
                  </a:lnTo>
                  <a:lnTo>
                    <a:pt x="1645930" y="4341960"/>
                  </a:lnTo>
                  <a:lnTo>
                    <a:pt x="1649247" y="4345651"/>
                  </a:lnTo>
                  <a:lnTo>
                    <a:pt x="1651325" y="4350688"/>
                  </a:lnTo>
                  <a:lnTo>
                    <a:pt x="1652926" y="4357761"/>
                  </a:lnTo>
                  <a:lnTo>
                    <a:pt x="1653008" y="4370019"/>
                  </a:lnTo>
                  <a:lnTo>
                    <a:pt x="1649489" y="4382869"/>
                  </a:lnTo>
                  <a:lnTo>
                    <a:pt x="1643845" y="4394431"/>
                  </a:lnTo>
                  <a:lnTo>
                    <a:pt x="1637397" y="4403012"/>
                  </a:lnTo>
                  <a:lnTo>
                    <a:pt x="1634073" y="4405254"/>
                  </a:lnTo>
                  <a:lnTo>
                    <a:pt x="1625901" y="4408100"/>
                  </a:lnTo>
                  <a:lnTo>
                    <a:pt x="1621893" y="4410800"/>
                  </a:lnTo>
                  <a:lnTo>
                    <a:pt x="1619567" y="4414387"/>
                  </a:lnTo>
                  <a:lnTo>
                    <a:pt x="1610933" y="4431729"/>
                  </a:lnTo>
                  <a:lnTo>
                    <a:pt x="1603945" y="4441112"/>
                  </a:lnTo>
                  <a:lnTo>
                    <a:pt x="1596355" y="4448042"/>
                  </a:lnTo>
                  <a:lnTo>
                    <a:pt x="1578965" y="4458684"/>
                  </a:lnTo>
                  <a:lnTo>
                    <a:pt x="1570491" y="4461955"/>
                  </a:lnTo>
                  <a:lnTo>
                    <a:pt x="1545478" y="4464941"/>
                  </a:lnTo>
                  <a:lnTo>
                    <a:pt x="1539622" y="4465637"/>
                  </a:lnTo>
                  <a:lnTo>
                    <a:pt x="1537901" y="4464628"/>
                  </a:lnTo>
                  <a:lnTo>
                    <a:pt x="1539478" y="4461060"/>
                  </a:lnTo>
                  <a:lnTo>
                    <a:pt x="1543072" y="4454619"/>
                  </a:lnTo>
                  <a:lnTo>
                    <a:pt x="1544640" y="4453546"/>
                  </a:lnTo>
                  <a:lnTo>
                    <a:pt x="1549779" y="4452028"/>
                  </a:lnTo>
                  <a:lnTo>
                    <a:pt x="1551670" y="4450173"/>
                  </a:lnTo>
                  <a:lnTo>
                    <a:pt x="1552645" y="4446367"/>
                  </a:lnTo>
                  <a:lnTo>
                    <a:pt x="1552455" y="4442939"/>
                  </a:lnTo>
                  <a:lnTo>
                    <a:pt x="1551585" y="4439185"/>
                  </a:lnTo>
                  <a:lnTo>
                    <a:pt x="1558665" y="4418060"/>
                  </a:lnTo>
                  <a:lnTo>
                    <a:pt x="1558976" y="4407765"/>
                  </a:lnTo>
                  <a:lnTo>
                    <a:pt x="1551859" y="4403890"/>
                  </a:lnTo>
                  <a:lnTo>
                    <a:pt x="1534828" y="4406929"/>
                  </a:lnTo>
                  <a:lnTo>
                    <a:pt x="1530203" y="4412006"/>
                  </a:lnTo>
                  <a:lnTo>
                    <a:pt x="1528555" y="4413269"/>
                  </a:lnTo>
                  <a:lnTo>
                    <a:pt x="1526552" y="4413247"/>
                  </a:lnTo>
                  <a:lnTo>
                    <a:pt x="1522557" y="4410793"/>
                  </a:lnTo>
                  <a:lnTo>
                    <a:pt x="1520635" y="4410534"/>
                  </a:lnTo>
                  <a:lnTo>
                    <a:pt x="1515537" y="4412946"/>
                  </a:lnTo>
                  <a:lnTo>
                    <a:pt x="1512563" y="4415135"/>
                  </a:lnTo>
                  <a:lnTo>
                    <a:pt x="1509959" y="4415240"/>
                  </a:lnTo>
                  <a:lnTo>
                    <a:pt x="1506210" y="4411559"/>
                  </a:lnTo>
                  <a:lnTo>
                    <a:pt x="1504154" y="4406085"/>
                  </a:lnTo>
                  <a:lnTo>
                    <a:pt x="1503823" y="4399939"/>
                  </a:lnTo>
                  <a:lnTo>
                    <a:pt x="1502811" y="4393996"/>
                  </a:lnTo>
                  <a:lnTo>
                    <a:pt x="1498592" y="4389014"/>
                  </a:lnTo>
                  <a:lnTo>
                    <a:pt x="1507430" y="4382190"/>
                  </a:lnTo>
                  <a:lnTo>
                    <a:pt x="1509259" y="4376187"/>
                  </a:lnTo>
                  <a:lnTo>
                    <a:pt x="1505890" y="4369466"/>
                  </a:lnTo>
                  <a:lnTo>
                    <a:pt x="1487002" y="4341452"/>
                  </a:lnTo>
                  <a:lnTo>
                    <a:pt x="1482595" y="4343438"/>
                  </a:lnTo>
                  <a:lnTo>
                    <a:pt x="1479141" y="4346429"/>
                  </a:lnTo>
                  <a:lnTo>
                    <a:pt x="1475735" y="4347887"/>
                  </a:lnTo>
                  <a:lnTo>
                    <a:pt x="1471514" y="4345322"/>
                  </a:lnTo>
                  <a:lnTo>
                    <a:pt x="1470934" y="4341980"/>
                  </a:lnTo>
                  <a:lnTo>
                    <a:pt x="1470825" y="4340237"/>
                  </a:lnTo>
                  <a:lnTo>
                    <a:pt x="1470835" y="4338508"/>
                  </a:lnTo>
                  <a:lnTo>
                    <a:pt x="1467366" y="4330791"/>
                  </a:lnTo>
                  <a:lnTo>
                    <a:pt x="1462563" y="4325918"/>
                  </a:lnTo>
                  <a:lnTo>
                    <a:pt x="1458562" y="4320545"/>
                  </a:lnTo>
                  <a:lnTo>
                    <a:pt x="1457545" y="4311085"/>
                  </a:lnTo>
                  <a:lnTo>
                    <a:pt x="1452850" y="4314805"/>
                  </a:lnTo>
                  <a:lnTo>
                    <a:pt x="1447013" y="4315918"/>
                  </a:lnTo>
                  <a:lnTo>
                    <a:pt x="1435520" y="4314920"/>
                  </a:lnTo>
                  <a:lnTo>
                    <a:pt x="1423935" y="4310520"/>
                  </a:lnTo>
                  <a:lnTo>
                    <a:pt x="1421975" y="4311036"/>
                  </a:lnTo>
                  <a:lnTo>
                    <a:pt x="1417201" y="4314069"/>
                  </a:lnTo>
                  <a:lnTo>
                    <a:pt x="1414084" y="4314281"/>
                  </a:lnTo>
                  <a:lnTo>
                    <a:pt x="1406253" y="4310139"/>
                  </a:lnTo>
                  <a:lnTo>
                    <a:pt x="1404825" y="4304087"/>
                  </a:lnTo>
                  <a:lnTo>
                    <a:pt x="1405640" y="4297137"/>
                  </a:lnTo>
                  <a:lnTo>
                    <a:pt x="1404419" y="4290363"/>
                  </a:lnTo>
                  <a:lnTo>
                    <a:pt x="1399953" y="4285390"/>
                  </a:lnTo>
                  <a:lnTo>
                    <a:pt x="1394506" y="4283365"/>
                  </a:lnTo>
                  <a:lnTo>
                    <a:pt x="1388717" y="4283963"/>
                  </a:lnTo>
                  <a:lnTo>
                    <a:pt x="1383107" y="4286895"/>
                  </a:lnTo>
                  <a:lnTo>
                    <a:pt x="1374600" y="4296622"/>
                  </a:lnTo>
                  <a:lnTo>
                    <a:pt x="1369714" y="4306975"/>
                  </a:lnTo>
                  <a:lnTo>
                    <a:pt x="1364042" y="4315664"/>
                  </a:lnTo>
                  <a:lnTo>
                    <a:pt x="1353452" y="4320580"/>
                  </a:lnTo>
                  <a:lnTo>
                    <a:pt x="1328689" y="4320744"/>
                  </a:lnTo>
                  <a:lnTo>
                    <a:pt x="1306166" y="4314277"/>
                  </a:lnTo>
                  <a:lnTo>
                    <a:pt x="1304527" y="4313804"/>
                  </a:lnTo>
                  <a:lnTo>
                    <a:pt x="1303605" y="4313215"/>
                  </a:lnTo>
                  <a:lnTo>
                    <a:pt x="1198670" y="4245715"/>
                  </a:lnTo>
                  <a:lnTo>
                    <a:pt x="1183748" y="4242006"/>
                  </a:lnTo>
                  <a:lnTo>
                    <a:pt x="1169331" y="4241784"/>
                  </a:lnTo>
                  <a:lnTo>
                    <a:pt x="1164248" y="4233529"/>
                  </a:lnTo>
                  <a:lnTo>
                    <a:pt x="1142948" y="4233163"/>
                  </a:lnTo>
                  <a:lnTo>
                    <a:pt x="1100080" y="4227533"/>
                  </a:lnTo>
                  <a:lnTo>
                    <a:pt x="1092741" y="4230286"/>
                  </a:lnTo>
                  <a:lnTo>
                    <a:pt x="1086482" y="4236843"/>
                  </a:lnTo>
                  <a:lnTo>
                    <a:pt x="1072379" y="4241055"/>
                  </a:lnTo>
                  <a:lnTo>
                    <a:pt x="1057257" y="4242181"/>
                  </a:lnTo>
                  <a:lnTo>
                    <a:pt x="1047869" y="4239504"/>
                  </a:lnTo>
                  <a:lnTo>
                    <a:pt x="1036853" y="4230894"/>
                  </a:lnTo>
                  <a:lnTo>
                    <a:pt x="1036576" y="4230607"/>
                  </a:lnTo>
                  <a:lnTo>
                    <a:pt x="1031240" y="4225029"/>
                  </a:lnTo>
                  <a:lnTo>
                    <a:pt x="1031284" y="4221055"/>
                  </a:lnTo>
                  <a:lnTo>
                    <a:pt x="1038402" y="4219552"/>
                  </a:lnTo>
                  <a:lnTo>
                    <a:pt x="1028652" y="4209903"/>
                  </a:lnTo>
                  <a:lnTo>
                    <a:pt x="1016239" y="4202288"/>
                  </a:lnTo>
                  <a:lnTo>
                    <a:pt x="1005909" y="4201588"/>
                  </a:lnTo>
                  <a:lnTo>
                    <a:pt x="1002202" y="4212718"/>
                  </a:lnTo>
                  <a:lnTo>
                    <a:pt x="1005268" y="4216316"/>
                  </a:lnTo>
                  <a:lnTo>
                    <a:pt x="984929" y="4216150"/>
                  </a:lnTo>
                  <a:lnTo>
                    <a:pt x="984257" y="4212411"/>
                  </a:lnTo>
                  <a:lnTo>
                    <a:pt x="983401" y="4208033"/>
                  </a:lnTo>
                  <a:lnTo>
                    <a:pt x="980424" y="4204166"/>
                  </a:lnTo>
                  <a:lnTo>
                    <a:pt x="978899" y="4199463"/>
                  </a:lnTo>
                  <a:lnTo>
                    <a:pt x="980257" y="4195756"/>
                  </a:lnTo>
                  <a:lnTo>
                    <a:pt x="985560" y="4188153"/>
                  </a:lnTo>
                  <a:lnTo>
                    <a:pt x="986642" y="4186020"/>
                  </a:lnTo>
                  <a:lnTo>
                    <a:pt x="984229" y="4180186"/>
                  </a:lnTo>
                  <a:lnTo>
                    <a:pt x="980470" y="4179362"/>
                  </a:lnTo>
                  <a:lnTo>
                    <a:pt x="976198" y="4180147"/>
                  </a:lnTo>
                  <a:lnTo>
                    <a:pt x="972244" y="4179154"/>
                  </a:lnTo>
                  <a:lnTo>
                    <a:pt x="969488" y="4174538"/>
                  </a:lnTo>
                  <a:lnTo>
                    <a:pt x="966622" y="4167850"/>
                  </a:lnTo>
                  <a:lnTo>
                    <a:pt x="963059" y="4162137"/>
                  </a:lnTo>
                  <a:lnTo>
                    <a:pt x="958133" y="4160363"/>
                  </a:lnTo>
                  <a:lnTo>
                    <a:pt x="954552" y="4163941"/>
                  </a:lnTo>
                  <a:lnTo>
                    <a:pt x="952271" y="4176357"/>
                  </a:lnTo>
                  <a:lnTo>
                    <a:pt x="947428" y="4179369"/>
                  </a:lnTo>
                  <a:lnTo>
                    <a:pt x="943720" y="4176458"/>
                  </a:lnTo>
                  <a:lnTo>
                    <a:pt x="942536" y="4169483"/>
                  </a:lnTo>
                  <a:lnTo>
                    <a:pt x="942356" y="4162092"/>
                  </a:lnTo>
                  <a:lnTo>
                    <a:pt x="941860" y="4157913"/>
                  </a:lnTo>
                  <a:lnTo>
                    <a:pt x="934830" y="4154517"/>
                  </a:lnTo>
                  <a:lnTo>
                    <a:pt x="925274" y="4153745"/>
                  </a:lnTo>
                  <a:lnTo>
                    <a:pt x="919072" y="4157105"/>
                  </a:lnTo>
                  <a:lnTo>
                    <a:pt x="922423" y="4166203"/>
                  </a:lnTo>
                  <a:lnTo>
                    <a:pt x="916551" y="4169010"/>
                  </a:lnTo>
                  <a:lnTo>
                    <a:pt x="895748" y="4172607"/>
                  </a:lnTo>
                  <a:lnTo>
                    <a:pt x="891460" y="4172376"/>
                  </a:lnTo>
                  <a:lnTo>
                    <a:pt x="888394" y="4174097"/>
                  </a:lnTo>
                  <a:lnTo>
                    <a:pt x="882989" y="4181636"/>
                  </a:lnTo>
                  <a:lnTo>
                    <a:pt x="881092" y="4185752"/>
                  </a:lnTo>
                  <a:lnTo>
                    <a:pt x="877891" y="4197104"/>
                  </a:lnTo>
                  <a:lnTo>
                    <a:pt x="873694" y="4200833"/>
                  </a:lnTo>
                  <a:lnTo>
                    <a:pt x="863808" y="4205929"/>
                  </a:lnTo>
                  <a:lnTo>
                    <a:pt x="859913" y="4210150"/>
                  </a:lnTo>
                  <a:lnTo>
                    <a:pt x="859362" y="4214363"/>
                  </a:lnTo>
                  <a:lnTo>
                    <a:pt x="860882" y="4218584"/>
                  </a:lnTo>
                  <a:lnTo>
                    <a:pt x="861707" y="4223485"/>
                  </a:lnTo>
                  <a:lnTo>
                    <a:pt x="859073" y="4229604"/>
                  </a:lnTo>
                  <a:lnTo>
                    <a:pt x="865065" y="4231998"/>
                  </a:lnTo>
                  <a:lnTo>
                    <a:pt x="866968" y="4232346"/>
                  </a:lnTo>
                  <a:lnTo>
                    <a:pt x="876643" y="4240158"/>
                  </a:lnTo>
                  <a:lnTo>
                    <a:pt x="884490" y="4244918"/>
                  </a:lnTo>
                  <a:lnTo>
                    <a:pt x="891348" y="4244805"/>
                  </a:lnTo>
                  <a:lnTo>
                    <a:pt x="897119" y="4242001"/>
                  </a:lnTo>
                  <a:lnTo>
                    <a:pt x="902552" y="4238316"/>
                  </a:lnTo>
                  <a:lnTo>
                    <a:pt x="908399" y="4235555"/>
                  </a:lnTo>
                  <a:lnTo>
                    <a:pt x="927191" y="4232841"/>
                  </a:lnTo>
                  <a:lnTo>
                    <a:pt x="932543" y="4233892"/>
                  </a:lnTo>
                  <a:lnTo>
                    <a:pt x="936889" y="4235808"/>
                  </a:lnTo>
                  <a:lnTo>
                    <a:pt x="938653" y="4236585"/>
                  </a:lnTo>
                  <a:lnTo>
                    <a:pt x="942149" y="4237011"/>
                  </a:lnTo>
                  <a:lnTo>
                    <a:pt x="939633" y="4250497"/>
                  </a:lnTo>
                  <a:lnTo>
                    <a:pt x="937154" y="4249166"/>
                  </a:lnTo>
                  <a:lnTo>
                    <a:pt x="937000" y="4245646"/>
                  </a:lnTo>
                  <a:lnTo>
                    <a:pt x="936664" y="4244722"/>
                  </a:lnTo>
                  <a:lnTo>
                    <a:pt x="934989" y="4244739"/>
                  </a:lnTo>
                  <a:lnTo>
                    <a:pt x="932939" y="4245456"/>
                  </a:lnTo>
                  <a:lnTo>
                    <a:pt x="931516" y="4246634"/>
                  </a:lnTo>
                  <a:lnTo>
                    <a:pt x="930563" y="4249771"/>
                  </a:lnTo>
                  <a:lnTo>
                    <a:pt x="931137" y="4252385"/>
                  </a:lnTo>
                  <a:lnTo>
                    <a:pt x="931999" y="4254638"/>
                  </a:lnTo>
                  <a:lnTo>
                    <a:pt x="932111" y="4256606"/>
                  </a:lnTo>
                  <a:lnTo>
                    <a:pt x="931538" y="4260492"/>
                  </a:lnTo>
                  <a:lnTo>
                    <a:pt x="931639" y="4264558"/>
                  </a:lnTo>
                  <a:lnTo>
                    <a:pt x="931096" y="4268829"/>
                  </a:lnTo>
                  <a:lnTo>
                    <a:pt x="929352" y="4271728"/>
                  </a:lnTo>
                  <a:lnTo>
                    <a:pt x="928478" y="4273181"/>
                  </a:lnTo>
                  <a:lnTo>
                    <a:pt x="923252" y="4274792"/>
                  </a:lnTo>
                  <a:lnTo>
                    <a:pt x="919894" y="4270439"/>
                  </a:lnTo>
                  <a:lnTo>
                    <a:pt x="919116" y="4269429"/>
                  </a:lnTo>
                  <a:lnTo>
                    <a:pt x="914724" y="4261575"/>
                  </a:lnTo>
                  <a:lnTo>
                    <a:pt x="908927" y="4255843"/>
                  </a:lnTo>
                  <a:lnTo>
                    <a:pt x="897342" y="4256722"/>
                  </a:lnTo>
                  <a:lnTo>
                    <a:pt x="885346" y="4264238"/>
                  </a:lnTo>
                  <a:lnTo>
                    <a:pt x="880588" y="4273893"/>
                  </a:lnTo>
                  <a:lnTo>
                    <a:pt x="880039" y="4276596"/>
                  </a:lnTo>
                  <a:lnTo>
                    <a:pt x="869279" y="4278120"/>
                  </a:lnTo>
                  <a:lnTo>
                    <a:pt x="868104" y="4278286"/>
                  </a:lnTo>
                  <a:lnTo>
                    <a:pt x="843427" y="4277458"/>
                  </a:lnTo>
                  <a:lnTo>
                    <a:pt x="828902" y="4273147"/>
                  </a:lnTo>
                  <a:lnTo>
                    <a:pt x="825184" y="4270559"/>
                  </a:lnTo>
                  <a:lnTo>
                    <a:pt x="822628" y="4264973"/>
                  </a:lnTo>
                  <a:lnTo>
                    <a:pt x="820709" y="4259407"/>
                  </a:lnTo>
                  <a:lnTo>
                    <a:pt x="818707" y="4256867"/>
                  </a:lnTo>
                  <a:lnTo>
                    <a:pt x="814258" y="4256264"/>
                  </a:lnTo>
                  <a:lnTo>
                    <a:pt x="804346" y="4252901"/>
                  </a:lnTo>
                  <a:lnTo>
                    <a:pt x="797373" y="4252726"/>
                  </a:lnTo>
                  <a:lnTo>
                    <a:pt x="776474" y="4255617"/>
                  </a:lnTo>
                  <a:lnTo>
                    <a:pt x="774443" y="4256855"/>
                  </a:lnTo>
                  <a:lnTo>
                    <a:pt x="772448" y="4259587"/>
                  </a:lnTo>
                  <a:lnTo>
                    <a:pt x="769735" y="4262297"/>
                  </a:lnTo>
                  <a:lnTo>
                    <a:pt x="762618" y="4264193"/>
                  </a:lnTo>
                  <a:lnTo>
                    <a:pt x="754112" y="4268465"/>
                  </a:lnTo>
                  <a:lnTo>
                    <a:pt x="750888" y="4270819"/>
                  </a:lnTo>
                  <a:lnTo>
                    <a:pt x="747505" y="4274481"/>
                  </a:lnTo>
                  <a:lnTo>
                    <a:pt x="745861" y="4277327"/>
                  </a:lnTo>
                  <a:lnTo>
                    <a:pt x="744071" y="4279752"/>
                  </a:lnTo>
                  <a:lnTo>
                    <a:pt x="740244" y="4282188"/>
                  </a:lnTo>
                  <a:lnTo>
                    <a:pt x="722775" y="4285533"/>
                  </a:lnTo>
                  <a:lnTo>
                    <a:pt x="672566" y="4283874"/>
                  </a:lnTo>
                  <a:lnTo>
                    <a:pt x="671609" y="4281419"/>
                  </a:lnTo>
                  <a:lnTo>
                    <a:pt x="671029" y="4276034"/>
                  </a:lnTo>
                  <a:lnTo>
                    <a:pt x="669970" y="4270632"/>
                  </a:lnTo>
                  <a:lnTo>
                    <a:pt x="667700" y="4268103"/>
                  </a:lnTo>
                  <a:lnTo>
                    <a:pt x="642880" y="4265738"/>
                  </a:lnTo>
                  <a:lnTo>
                    <a:pt x="637555" y="4262771"/>
                  </a:lnTo>
                  <a:lnTo>
                    <a:pt x="630162" y="4273523"/>
                  </a:lnTo>
                  <a:lnTo>
                    <a:pt x="623767" y="4280672"/>
                  </a:lnTo>
                  <a:lnTo>
                    <a:pt x="616366" y="4284544"/>
                  </a:lnTo>
                  <a:lnTo>
                    <a:pt x="601043" y="4287159"/>
                  </a:lnTo>
                  <a:lnTo>
                    <a:pt x="583982" y="4290060"/>
                  </a:lnTo>
                  <a:lnTo>
                    <a:pt x="575528" y="4288608"/>
                  </a:lnTo>
                  <a:lnTo>
                    <a:pt x="570032" y="4285429"/>
                  </a:lnTo>
                  <a:lnTo>
                    <a:pt x="555977" y="4277289"/>
                  </a:lnTo>
                  <a:lnTo>
                    <a:pt x="556976" y="4277336"/>
                  </a:lnTo>
                  <a:lnTo>
                    <a:pt x="566061" y="4277760"/>
                  </a:lnTo>
                  <a:lnTo>
                    <a:pt x="570312" y="4273943"/>
                  </a:lnTo>
                  <a:lnTo>
                    <a:pt x="575895" y="4259827"/>
                  </a:lnTo>
                  <a:lnTo>
                    <a:pt x="567135" y="4260416"/>
                  </a:lnTo>
                  <a:lnTo>
                    <a:pt x="547251" y="4265588"/>
                  </a:lnTo>
                  <a:lnTo>
                    <a:pt x="549042" y="4259819"/>
                  </a:lnTo>
                  <a:lnTo>
                    <a:pt x="550035" y="4257801"/>
                  </a:lnTo>
                  <a:lnTo>
                    <a:pt x="549401" y="4252323"/>
                  </a:lnTo>
                  <a:lnTo>
                    <a:pt x="547481" y="4249264"/>
                  </a:lnTo>
                  <a:lnTo>
                    <a:pt x="545092" y="4247014"/>
                  </a:lnTo>
                  <a:lnTo>
                    <a:pt x="542890" y="4244031"/>
                  </a:lnTo>
                  <a:lnTo>
                    <a:pt x="534866" y="4226307"/>
                  </a:lnTo>
                  <a:lnTo>
                    <a:pt x="529929" y="4218812"/>
                  </a:lnTo>
                  <a:lnTo>
                    <a:pt x="524354" y="4215609"/>
                  </a:lnTo>
                  <a:lnTo>
                    <a:pt x="522942" y="4212924"/>
                  </a:lnTo>
                  <a:lnTo>
                    <a:pt x="521944" y="4206719"/>
                  </a:lnTo>
                  <a:lnTo>
                    <a:pt x="521342" y="4194381"/>
                  </a:lnTo>
                  <a:lnTo>
                    <a:pt x="522825" y="4191009"/>
                  </a:lnTo>
                  <a:lnTo>
                    <a:pt x="529444" y="4184469"/>
                  </a:lnTo>
                  <a:lnTo>
                    <a:pt x="531853" y="4180779"/>
                  </a:lnTo>
                  <a:lnTo>
                    <a:pt x="532406" y="4171457"/>
                  </a:lnTo>
                  <a:lnTo>
                    <a:pt x="528402" y="4151269"/>
                  </a:lnTo>
                  <a:lnTo>
                    <a:pt x="529737" y="4143383"/>
                  </a:lnTo>
                  <a:lnTo>
                    <a:pt x="535917" y="4125085"/>
                  </a:lnTo>
                  <a:lnTo>
                    <a:pt x="538163" y="4122423"/>
                  </a:lnTo>
                  <a:lnTo>
                    <a:pt x="543466" y="4119775"/>
                  </a:lnTo>
                  <a:lnTo>
                    <a:pt x="544540" y="4113415"/>
                  </a:lnTo>
                  <a:lnTo>
                    <a:pt x="542959" y="4102710"/>
                  </a:lnTo>
                  <a:lnTo>
                    <a:pt x="543134" y="4100174"/>
                  </a:lnTo>
                  <a:lnTo>
                    <a:pt x="542872" y="4098717"/>
                  </a:lnTo>
                  <a:lnTo>
                    <a:pt x="542728" y="4097262"/>
                  </a:lnTo>
                  <a:lnTo>
                    <a:pt x="543255" y="4094886"/>
                  </a:lnTo>
                  <a:lnTo>
                    <a:pt x="544497" y="4092452"/>
                  </a:lnTo>
                  <a:lnTo>
                    <a:pt x="547126" y="4090083"/>
                  </a:lnTo>
                  <a:lnTo>
                    <a:pt x="548777" y="4087325"/>
                  </a:lnTo>
                  <a:lnTo>
                    <a:pt x="551408" y="4081690"/>
                  </a:lnTo>
                  <a:lnTo>
                    <a:pt x="552217" y="4079163"/>
                  </a:lnTo>
                  <a:lnTo>
                    <a:pt x="552090" y="4069858"/>
                  </a:lnTo>
                  <a:lnTo>
                    <a:pt x="554435" y="4062307"/>
                  </a:lnTo>
                  <a:lnTo>
                    <a:pt x="565049" y="4051845"/>
                  </a:lnTo>
                  <a:lnTo>
                    <a:pt x="568943" y="4045105"/>
                  </a:lnTo>
                  <a:lnTo>
                    <a:pt x="568773" y="4027241"/>
                  </a:lnTo>
                  <a:lnTo>
                    <a:pt x="553347" y="3997439"/>
                  </a:lnTo>
                  <a:lnTo>
                    <a:pt x="553052" y="3973818"/>
                  </a:lnTo>
                  <a:lnTo>
                    <a:pt x="555878" y="3962764"/>
                  </a:lnTo>
                  <a:lnTo>
                    <a:pt x="558769" y="3954151"/>
                  </a:lnTo>
                  <a:lnTo>
                    <a:pt x="561720" y="3949150"/>
                  </a:lnTo>
                  <a:lnTo>
                    <a:pt x="564451" y="3945795"/>
                  </a:lnTo>
                  <a:lnTo>
                    <a:pt x="566550" y="3941381"/>
                  </a:lnTo>
                  <a:lnTo>
                    <a:pt x="567606" y="3933171"/>
                  </a:lnTo>
                  <a:lnTo>
                    <a:pt x="570388" y="3926283"/>
                  </a:lnTo>
                  <a:lnTo>
                    <a:pt x="595727" y="3893368"/>
                  </a:lnTo>
                  <a:lnTo>
                    <a:pt x="600042" y="3885218"/>
                  </a:lnTo>
                  <a:lnTo>
                    <a:pt x="602792" y="3875622"/>
                  </a:lnTo>
                  <a:lnTo>
                    <a:pt x="603998" y="3864047"/>
                  </a:lnTo>
                  <a:lnTo>
                    <a:pt x="607064" y="3852140"/>
                  </a:lnTo>
                  <a:lnTo>
                    <a:pt x="613375" y="3847332"/>
                  </a:lnTo>
                  <a:lnTo>
                    <a:pt x="620503" y="3843777"/>
                  </a:lnTo>
                  <a:lnTo>
                    <a:pt x="626026" y="3835566"/>
                  </a:lnTo>
                  <a:lnTo>
                    <a:pt x="626780" y="3827596"/>
                  </a:lnTo>
                  <a:lnTo>
                    <a:pt x="625127" y="3819908"/>
                  </a:lnTo>
                  <a:lnTo>
                    <a:pt x="622914" y="3812525"/>
                  </a:lnTo>
                  <a:lnTo>
                    <a:pt x="621943" y="3805599"/>
                  </a:lnTo>
                  <a:lnTo>
                    <a:pt x="622641" y="3798114"/>
                  </a:lnTo>
                  <a:lnTo>
                    <a:pt x="625962" y="3783126"/>
                  </a:lnTo>
                  <a:lnTo>
                    <a:pt x="628114" y="3776685"/>
                  </a:lnTo>
                  <a:lnTo>
                    <a:pt x="630932" y="3771360"/>
                  </a:lnTo>
                  <a:lnTo>
                    <a:pt x="633531" y="3767759"/>
                  </a:lnTo>
                  <a:lnTo>
                    <a:pt x="635646" y="3762276"/>
                  </a:lnTo>
                  <a:lnTo>
                    <a:pt x="636813" y="3751422"/>
                  </a:lnTo>
                  <a:lnTo>
                    <a:pt x="638953" y="3746311"/>
                  </a:lnTo>
                  <a:lnTo>
                    <a:pt x="643657" y="3741806"/>
                  </a:lnTo>
                  <a:lnTo>
                    <a:pt x="653390" y="3734642"/>
                  </a:lnTo>
                  <a:lnTo>
                    <a:pt x="653527" y="3730715"/>
                  </a:lnTo>
                  <a:lnTo>
                    <a:pt x="649489" y="3718420"/>
                  </a:lnTo>
                  <a:lnTo>
                    <a:pt x="650221" y="3698546"/>
                  </a:lnTo>
                  <a:lnTo>
                    <a:pt x="654075" y="3679998"/>
                  </a:lnTo>
                  <a:lnTo>
                    <a:pt x="670864" y="3655603"/>
                  </a:lnTo>
                  <a:lnTo>
                    <a:pt x="675381" y="3652626"/>
                  </a:lnTo>
                  <a:lnTo>
                    <a:pt x="681693" y="3650803"/>
                  </a:lnTo>
                  <a:lnTo>
                    <a:pt x="687637" y="3645981"/>
                  </a:lnTo>
                  <a:lnTo>
                    <a:pt x="698388" y="3633931"/>
                  </a:lnTo>
                  <a:lnTo>
                    <a:pt x="702969" y="3631157"/>
                  </a:lnTo>
                  <a:lnTo>
                    <a:pt x="708121" y="3626452"/>
                  </a:lnTo>
                  <a:lnTo>
                    <a:pt x="712354" y="3621155"/>
                  </a:lnTo>
                  <a:lnTo>
                    <a:pt x="714178" y="3616692"/>
                  </a:lnTo>
                  <a:lnTo>
                    <a:pt x="715003" y="3605809"/>
                  </a:lnTo>
                  <a:lnTo>
                    <a:pt x="717156" y="3600767"/>
                  </a:lnTo>
                  <a:lnTo>
                    <a:pt x="721487" y="3599490"/>
                  </a:lnTo>
                  <a:lnTo>
                    <a:pt x="732087" y="3599663"/>
                  </a:lnTo>
                  <a:lnTo>
                    <a:pt x="735001" y="3598754"/>
                  </a:lnTo>
                  <a:lnTo>
                    <a:pt x="737203" y="3596962"/>
                  </a:lnTo>
                  <a:lnTo>
                    <a:pt x="738122" y="3593829"/>
                  </a:lnTo>
                  <a:lnTo>
                    <a:pt x="739111" y="3588480"/>
                  </a:lnTo>
                  <a:lnTo>
                    <a:pt x="740960" y="3585495"/>
                  </a:lnTo>
                  <a:lnTo>
                    <a:pt x="742766" y="3583869"/>
                  </a:lnTo>
                  <a:lnTo>
                    <a:pt x="743629" y="3582476"/>
                  </a:lnTo>
                  <a:lnTo>
                    <a:pt x="746941" y="3582436"/>
                  </a:lnTo>
                  <a:lnTo>
                    <a:pt x="760993" y="3575435"/>
                  </a:lnTo>
                  <a:lnTo>
                    <a:pt x="763350" y="3573528"/>
                  </a:lnTo>
                  <a:lnTo>
                    <a:pt x="768264" y="3565790"/>
                  </a:lnTo>
                  <a:lnTo>
                    <a:pt x="786773" y="3519212"/>
                  </a:lnTo>
                  <a:lnTo>
                    <a:pt x="799170" y="3497302"/>
                  </a:lnTo>
                  <a:lnTo>
                    <a:pt x="807157" y="3488646"/>
                  </a:lnTo>
                  <a:lnTo>
                    <a:pt x="807318" y="3488472"/>
                  </a:lnTo>
                  <a:lnTo>
                    <a:pt x="803095" y="3484235"/>
                  </a:lnTo>
                  <a:lnTo>
                    <a:pt x="766445" y="3475412"/>
                  </a:lnTo>
                  <a:lnTo>
                    <a:pt x="708021" y="3441657"/>
                  </a:lnTo>
                  <a:lnTo>
                    <a:pt x="701269" y="3440658"/>
                  </a:lnTo>
                  <a:lnTo>
                    <a:pt x="679851" y="3442168"/>
                  </a:lnTo>
                  <a:lnTo>
                    <a:pt x="648994" y="3431997"/>
                  </a:lnTo>
                  <a:lnTo>
                    <a:pt x="644811" y="3432970"/>
                  </a:lnTo>
                  <a:lnTo>
                    <a:pt x="635849" y="3437465"/>
                  </a:lnTo>
                  <a:lnTo>
                    <a:pt x="631237" y="3438480"/>
                  </a:lnTo>
                  <a:lnTo>
                    <a:pt x="627655" y="3437816"/>
                  </a:lnTo>
                  <a:lnTo>
                    <a:pt x="619820" y="3434687"/>
                  </a:lnTo>
                  <a:lnTo>
                    <a:pt x="615702" y="3433825"/>
                  </a:lnTo>
                  <a:lnTo>
                    <a:pt x="610942" y="3434654"/>
                  </a:lnTo>
                  <a:lnTo>
                    <a:pt x="606497" y="3436380"/>
                  </a:lnTo>
                  <a:lnTo>
                    <a:pt x="601962" y="3437362"/>
                  </a:lnTo>
                  <a:lnTo>
                    <a:pt x="600522" y="3436979"/>
                  </a:lnTo>
                  <a:lnTo>
                    <a:pt x="596817" y="3435985"/>
                  </a:lnTo>
                  <a:lnTo>
                    <a:pt x="593443" y="3432871"/>
                  </a:lnTo>
                  <a:lnTo>
                    <a:pt x="590082" y="3425320"/>
                  </a:lnTo>
                  <a:lnTo>
                    <a:pt x="587462" y="3421791"/>
                  </a:lnTo>
                  <a:lnTo>
                    <a:pt x="579306" y="3417130"/>
                  </a:lnTo>
                  <a:lnTo>
                    <a:pt x="563047" y="3413630"/>
                  </a:lnTo>
                  <a:lnTo>
                    <a:pt x="555085" y="3408113"/>
                  </a:lnTo>
                  <a:lnTo>
                    <a:pt x="550415" y="3401689"/>
                  </a:lnTo>
                  <a:lnTo>
                    <a:pt x="542487" y="3387561"/>
                  </a:lnTo>
                  <a:lnTo>
                    <a:pt x="537447" y="3381860"/>
                  </a:lnTo>
                  <a:lnTo>
                    <a:pt x="538179" y="3379996"/>
                  </a:lnTo>
                  <a:lnTo>
                    <a:pt x="539157" y="3378734"/>
                  </a:lnTo>
                  <a:lnTo>
                    <a:pt x="542010" y="3377042"/>
                  </a:lnTo>
                  <a:lnTo>
                    <a:pt x="539863" y="3368676"/>
                  </a:lnTo>
                  <a:lnTo>
                    <a:pt x="533201" y="3365923"/>
                  </a:lnTo>
                  <a:lnTo>
                    <a:pt x="517100" y="3364177"/>
                  </a:lnTo>
                  <a:lnTo>
                    <a:pt x="515735" y="3357732"/>
                  </a:lnTo>
                  <a:lnTo>
                    <a:pt x="508501" y="3356813"/>
                  </a:lnTo>
                  <a:lnTo>
                    <a:pt x="501156" y="3358715"/>
                  </a:lnTo>
                  <a:lnTo>
                    <a:pt x="499627" y="3359111"/>
                  </a:lnTo>
                  <a:lnTo>
                    <a:pt x="493264" y="3362394"/>
                  </a:lnTo>
                  <a:lnTo>
                    <a:pt x="491409" y="3365157"/>
                  </a:lnTo>
                  <a:lnTo>
                    <a:pt x="488363" y="3373340"/>
                  </a:lnTo>
                  <a:lnTo>
                    <a:pt x="486340" y="3376422"/>
                  </a:lnTo>
                  <a:lnTo>
                    <a:pt x="483464" y="3377630"/>
                  </a:lnTo>
                  <a:lnTo>
                    <a:pt x="475773" y="3378282"/>
                  </a:lnTo>
                  <a:lnTo>
                    <a:pt x="472401" y="3379295"/>
                  </a:lnTo>
                  <a:lnTo>
                    <a:pt x="469924" y="3382058"/>
                  </a:lnTo>
                  <a:lnTo>
                    <a:pt x="465643" y="3389951"/>
                  </a:lnTo>
                  <a:lnTo>
                    <a:pt x="463344" y="3392130"/>
                  </a:lnTo>
                  <a:lnTo>
                    <a:pt x="461001" y="3391676"/>
                  </a:lnTo>
                  <a:lnTo>
                    <a:pt x="451150" y="3386519"/>
                  </a:lnTo>
                  <a:lnTo>
                    <a:pt x="418927" y="3384814"/>
                  </a:lnTo>
                  <a:lnTo>
                    <a:pt x="413140" y="3382545"/>
                  </a:lnTo>
                  <a:lnTo>
                    <a:pt x="407401" y="3379212"/>
                  </a:lnTo>
                  <a:lnTo>
                    <a:pt x="393568" y="3368146"/>
                  </a:lnTo>
                  <a:lnTo>
                    <a:pt x="391533" y="3367788"/>
                  </a:lnTo>
                  <a:lnTo>
                    <a:pt x="387983" y="3370998"/>
                  </a:lnTo>
                  <a:lnTo>
                    <a:pt x="388150" y="3374172"/>
                  </a:lnTo>
                  <a:lnTo>
                    <a:pt x="389214" y="3377208"/>
                  </a:lnTo>
                  <a:lnTo>
                    <a:pt x="388506" y="3380074"/>
                  </a:lnTo>
                  <a:lnTo>
                    <a:pt x="376700" y="3386814"/>
                  </a:lnTo>
                  <a:lnTo>
                    <a:pt x="368763" y="3379940"/>
                  </a:lnTo>
                  <a:lnTo>
                    <a:pt x="365150" y="3364062"/>
                  </a:lnTo>
                  <a:lnTo>
                    <a:pt x="366264" y="3343907"/>
                  </a:lnTo>
                  <a:lnTo>
                    <a:pt x="358216" y="3343119"/>
                  </a:lnTo>
                  <a:lnTo>
                    <a:pt x="335526" y="3328796"/>
                  </a:lnTo>
                  <a:lnTo>
                    <a:pt x="331428" y="3327981"/>
                  </a:lnTo>
                  <a:lnTo>
                    <a:pt x="320500" y="3328524"/>
                  </a:lnTo>
                  <a:lnTo>
                    <a:pt x="305088" y="3324198"/>
                  </a:lnTo>
                  <a:lnTo>
                    <a:pt x="301304" y="3324931"/>
                  </a:lnTo>
                  <a:lnTo>
                    <a:pt x="298762" y="3332766"/>
                  </a:lnTo>
                  <a:lnTo>
                    <a:pt x="301135" y="3342146"/>
                  </a:lnTo>
                  <a:lnTo>
                    <a:pt x="302108" y="3351690"/>
                  </a:lnTo>
                  <a:lnTo>
                    <a:pt x="295248" y="3359966"/>
                  </a:lnTo>
                  <a:lnTo>
                    <a:pt x="290446" y="3360826"/>
                  </a:lnTo>
                  <a:lnTo>
                    <a:pt x="276151" y="3354706"/>
                  </a:lnTo>
                  <a:lnTo>
                    <a:pt x="259519" y="3353730"/>
                  </a:lnTo>
                  <a:lnTo>
                    <a:pt x="255211" y="3351620"/>
                  </a:lnTo>
                  <a:lnTo>
                    <a:pt x="250823" y="3343377"/>
                  </a:lnTo>
                  <a:lnTo>
                    <a:pt x="252213" y="3336435"/>
                  </a:lnTo>
                  <a:lnTo>
                    <a:pt x="254462" y="3329298"/>
                  </a:lnTo>
                  <a:lnTo>
                    <a:pt x="252561" y="3320117"/>
                  </a:lnTo>
                  <a:lnTo>
                    <a:pt x="251055" y="3320071"/>
                  </a:lnTo>
                  <a:lnTo>
                    <a:pt x="245877" y="3323123"/>
                  </a:lnTo>
                  <a:lnTo>
                    <a:pt x="244210" y="3323215"/>
                  </a:lnTo>
                  <a:lnTo>
                    <a:pt x="243309" y="3321127"/>
                  </a:lnTo>
                  <a:lnTo>
                    <a:pt x="242802" y="3316603"/>
                  </a:lnTo>
                  <a:lnTo>
                    <a:pt x="242441" y="3315314"/>
                  </a:lnTo>
                  <a:lnTo>
                    <a:pt x="241366" y="3312863"/>
                  </a:lnTo>
                  <a:lnTo>
                    <a:pt x="238969" y="3302115"/>
                  </a:lnTo>
                  <a:lnTo>
                    <a:pt x="237473" y="3300382"/>
                  </a:lnTo>
                  <a:lnTo>
                    <a:pt x="232403" y="3298257"/>
                  </a:lnTo>
                  <a:lnTo>
                    <a:pt x="230479" y="3296590"/>
                  </a:lnTo>
                  <a:lnTo>
                    <a:pt x="230172" y="3294267"/>
                  </a:lnTo>
                  <a:lnTo>
                    <a:pt x="231235" y="3288520"/>
                  </a:lnTo>
                  <a:lnTo>
                    <a:pt x="230780" y="3286071"/>
                  </a:lnTo>
                  <a:lnTo>
                    <a:pt x="207233" y="3260820"/>
                  </a:lnTo>
                  <a:lnTo>
                    <a:pt x="201392" y="3252906"/>
                  </a:lnTo>
                  <a:lnTo>
                    <a:pt x="199391" y="3246142"/>
                  </a:lnTo>
                  <a:lnTo>
                    <a:pt x="201699" y="3241024"/>
                  </a:lnTo>
                  <a:lnTo>
                    <a:pt x="208330" y="3241046"/>
                  </a:lnTo>
                  <a:lnTo>
                    <a:pt x="210182" y="3236526"/>
                  </a:lnTo>
                  <a:lnTo>
                    <a:pt x="209090" y="3233037"/>
                  </a:lnTo>
                  <a:lnTo>
                    <a:pt x="192028" y="3212841"/>
                  </a:lnTo>
                  <a:lnTo>
                    <a:pt x="189654" y="3208898"/>
                  </a:lnTo>
                  <a:lnTo>
                    <a:pt x="190396" y="3208699"/>
                  </a:lnTo>
                  <a:lnTo>
                    <a:pt x="190486" y="3205508"/>
                  </a:lnTo>
                  <a:lnTo>
                    <a:pt x="189735" y="3200733"/>
                  </a:lnTo>
                  <a:lnTo>
                    <a:pt x="187680" y="3195859"/>
                  </a:lnTo>
                  <a:lnTo>
                    <a:pt x="181633" y="3189352"/>
                  </a:lnTo>
                  <a:lnTo>
                    <a:pt x="148475" y="3170422"/>
                  </a:lnTo>
                  <a:lnTo>
                    <a:pt x="144410" y="3169490"/>
                  </a:lnTo>
                  <a:lnTo>
                    <a:pt x="141316" y="3170505"/>
                  </a:lnTo>
                  <a:lnTo>
                    <a:pt x="133994" y="3174986"/>
                  </a:lnTo>
                  <a:lnTo>
                    <a:pt x="130002" y="3175535"/>
                  </a:lnTo>
                  <a:lnTo>
                    <a:pt x="126848" y="3175024"/>
                  </a:lnTo>
                  <a:lnTo>
                    <a:pt x="127105" y="3170816"/>
                  </a:lnTo>
                  <a:lnTo>
                    <a:pt x="126901" y="3153458"/>
                  </a:lnTo>
                  <a:lnTo>
                    <a:pt x="130330" y="3135150"/>
                  </a:lnTo>
                  <a:lnTo>
                    <a:pt x="131352" y="3129696"/>
                  </a:lnTo>
                  <a:lnTo>
                    <a:pt x="132341" y="3111604"/>
                  </a:lnTo>
                  <a:lnTo>
                    <a:pt x="134789" y="3105435"/>
                  </a:lnTo>
                  <a:lnTo>
                    <a:pt x="140854" y="3096948"/>
                  </a:lnTo>
                  <a:lnTo>
                    <a:pt x="151138" y="3085552"/>
                  </a:lnTo>
                  <a:lnTo>
                    <a:pt x="155302" y="3078024"/>
                  </a:lnTo>
                  <a:lnTo>
                    <a:pt x="158315" y="3074043"/>
                  </a:lnTo>
                  <a:lnTo>
                    <a:pt x="159447" y="3071531"/>
                  </a:lnTo>
                  <a:lnTo>
                    <a:pt x="159306" y="3067734"/>
                  </a:lnTo>
                  <a:lnTo>
                    <a:pt x="157171" y="3065398"/>
                  </a:lnTo>
                  <a:lnTo>
                    <a:pt x="154890" y="3063645"/>
                  </a:lnTo>
                  <a:lnTo>
                    <a:pt x="154342" y="3061721"/>
                  </a:lnTo>
                  <a:lnTo>
                    <a:pt x="160506" y="3053976"/>
                  </a:lnTo>
                  <a:lnTo>
                    <a:pt x="188594" y="3037790"/>
                  </a:lnTo>
                  <a:lnTo>
                    <a:pt x="187934" y="3036511"/>
                  </a:lnTo>
                  <a:lnTo>
                    <a:pt x="185570" y="3033454"/>
                  </a:lnTo>
                  <a:lnTo>
                    <a:pt x="186976" y="3030746"/>
                  </a:lnTo>
                  <a:lnTo>
                    <a:pt x="188739" y="3029981"/>
                  </a:lnTo>
                  <a:lnTo>
                    <a:pt x="191877" y="3031423"/>
                  </a:lnTo>
                  <a:lnTo>
                    <a:pt x="189431" y="3027740"/>
                  </a:lnTo>
                  <a:lnTo>
                    <a:pt x="187893" y="3023543"/>
                  </a:lnTo>
                  <a:lnTo>
                    <a:pt x="187301" y="3018835"/>
                  </a:lnTo>
                  <a:lnTo>
                    <a:pt x="187838" y="3013742"/>
                  </a:lnTo>
                  <a:lnTo>
                    <a:pt x="191590" y="3010777"/>
                  </a:lnTo>
                  <a:lnTo>
                    <a:pt x="191859" y="3008571"/>
                  </a:lnTo>
                  <a:lnTo>
                    <a:pt x="191002" y="3005980"/>
                  </a:lnTo>
                  <a:lnTo>
                    <a:pt x="191254" y="3001938"/>
                  </a:lnTo>
                  <a:lnTo>
                    <a:pt x="193664" y="2989605"/>
                  </a:lnTo>
                  <a:lnTo>
                    <a:pt x="194218" y="2989250"/>
                  </a:lnTo>
                  <a:lnTo>
                    <a:pt x="194510" y="2984441"/>
                  </a:lnTo>
                  <a:lnTo>
                    <a:pt x="195352" y="2983686"/>
                  </a:lnTo>
                  <a:lnTo>
                    <a:pt x="195460" y="2983810"/>
                  </a:lnTo>
                  <a:lnTo>
                    <a:pt x="193593" y="2981550"/>
                  </a:lnTo>
                  <a:lnTo>
                    <a:pt x="192150" y="2981383"/>
                  </a:lnTo>
                  <a:lnTo>
                    <a:pt x="180979" y="2977410"/>
                  </a:lnTo>
                  <a:lnTo>
                    <a:pt x="163307" y="2976452"/>
                  </a:lnTo>
                  <a:lnTo>
                    <a:pt x="156967" y="2974329"/>
                  </a:lnTo>
                  <a:lnTo>
                    <a:pt x="150939" y="2970004"/>
                  </a:lnTo>
                  <a:lnTo>
                    <a:pt x="140909" y="2959295"/>
                  </a:lnTo>
                  <a:lnTo>
                    <a:pt x="134885" y="2954995"/>
                  </a:lnTo>
                  <a:lnTo>
                    <a:pt x="131655" y="2954726"/>
                  </a:lnTo>
                  <a:lnTo>
                    <a:pt x="125951" y="2957781"/>
                  </a:lnTo>
                  <a:lnTo>
                    <a:pt x="122997" y="2957351"/>
                  </a:lnTo>
                  <a:lnTo>
                    <a:pt x="122723" y="2955411"/>
                  </a:lnTo>
                  <a:lnTo>
                    <a:pt x="120845" y="2949396"/>
                  </a:lnTo>
                  <a:lnTo>
                    <a:pt x="119580" y="2945345"/>
                  </a:lnTo>
                  <a:lnTo>
                    <a:pt x="118005" y="2942119"/>
                  </a:lnTo>
                  <a:lnTo>
                    <a:pt x="112836" y="2938335"/>
                  </a:lnTo>
                  <a:lnTo>
                    <a:pt x="100677" y="2932051"/>
                  </a:lnTo>
                  <a:lnTo>
                    <a:pt x="95267" y="2925878"/>
                  </a:lnTo>
                  <a:lnTo>
                    <a:pt x="84845" y="2895969"/>
                  </a:lnTo>
                  <a:lnTo>
                    <a:pt x="79129" y="2885364"/>
                  </a:lnTo>
                  <a:lnTo>
                    <a:pt x="74730" y="2892987"/>
                  </a:lnTo>
                  <a:lnTo>
                    <a:pt x="72094" y="2887831"/>
                  </a:lnTo>
                  <a:lnTo>
                    <a:pt x="67441" y="2871451"/>
                  </a:lnTo>
                  <a:lnTo>
                    <a:pt x="61667" y="2861402"/>
                  </a:lnTo>
                  <a:lnTo>
                    <a:pt x="60343" y="2856675"/>
                  </a:lnTo>
                  <a:lnTo>
                    <a:pt x="61735" y="2850390"/>
                  </a:lnTo>
                  <a:lnTo>
                    <a:pt x="60154" y="2838336"/>
                  </a:lnTo>
                  <a:lnTo>
                    <a:pt x="58040" y="2833504"/>
                  </a:lnTo>
                  <a:lnTo>
                    <a:pt x="54197" y="2830967"/>
                  </a:lnTo>
                  <a:lnTo>
                    <a:pt x="57995" y="2824497"/>
                  </a:lnTo>
                  <a:lnTo>
                    <a:pt x="59466" y="2822719"/>
                  </a:lnTo>
                  <a:lnTo>
                    <a:pt x="58640" y="2822553"/>
                  </a:lnTo>
                  <a:lnTo>
                    <a:pt x="56431" y="2822631"/>
                  </a:lnTo>
                  <a:lnTo>
                    <a:pt x="55812" y="2822179"/>
                  </a:lnTo>
                  <a:lnTo>
                    <a:pt x="59057" y="2806262"/>
                  </a:lnTo>
                  <a:lnTo>
                    <a:pt x="61293" y="2798515"/>
                  </a:lnTo>
                  <a:lnTo>
                    <a:pt x="64309" y="2790401"/>
                  </a:lnTo>
                  <a:lnTo>
                    <a:pt x="67865" y="2786671"/>
                  </a:lnTo>
                  <a:lnTo>
                    <a:pt x="69146" y="2782896"/>
                  </a:lnTo>
                  <a:lnTo>
                    <a:pt x="68065" y="2779310"/>
                  </a:lnTo>
                  <a:lnTo>
                    <a:pt x="64534" y="2776084"/>
                  </a:lnTo>
                  <a:lnTo>
                    <a:pt x="65491" y="2773327"/>
                  </a:lnTo>
                  <a:lnTo>
                    <a:pt x="67073" y="2766993"/>
                  </a:lnTo>
                  <a:lnTo>
                    <a:pt x="67863" y="2765144"/>
                  </a:lnTo>
                  <a:lnTo>
                    <a:pt x="71112" y="2763380"/>
                  </a:lnTo>
                  <a:lnTo>
                    <a:pt x="78439" y="2763215"/>
                  </a:lnTo>
                  <a:lnTo>
                    <a:pt x="81262" y="2761602"/>
                  </a:lnTo>
                  <a:lnTo>
                    <a:pt x="83764" y="2756328"/>
                  </a:lnTo>
                  <a:lnTo>
                    <a:pt x="84361" y="2749909"/>
                  </a:lnTo>
                  <a:lnTo>
                    <a:pt x="82696" y="2743298"/>
                  </a:lnTo>
                  <a:lnTo>
                    <a:pt x="78139" y="2737584"/>
                  </a:lnTo>
                  <a:lnTo>
                    <a:pt x="82200" y="2732845"/>
                  </a:lnTo>
                  <a:lnTo>
                    <a:pt x="90803" y="2727453"/>
                  </a:lnTo>
                  <a:lnTo>
                    <a:pt x="94705" y="2722111"/>
                  </a:lnTo>
                  <a:lnTo>
                    <a:pt x="102494" y="2718947"/>
                  </a:lnTo>
                  <a:lnTo>
                    <a:pt x="118438" y="2715415"/>
                  </a:lnTo>
                  <a:lnTo>
                    <a:pt x="125494" y="2709715"/>
                  </a:lnTo>
                  <a:lnTo>
                    <a:pt x="124161" y="2704488"/>
                  </a:lnTo>
                  <a:lnTo>
                    <a:pt x="125238" y="2698777"/>
                  </a:lnTo>
                  <a:lnTo>
                    <a:pt x="127959" y="2693423"/>
                  </a:lnTo>
                  <a:lnTo>
                    <a:pt x="131825" y="2689200"/>
                  </a:lnTo>
                  <a:lnTo>
                    <a:pt x="136921" y="2686615"/>
                  </a:lnTo>
                  <a:lnTo>
                    <a:pt x="140971" y="2687198"/>
                  </a:lnTo>
                  <a:lnTo>
                    <a:pt x="145026" y="2689053"/>
                  </a:lnTo>
                  <a:lnTo>
                    <a:pt x="149876" y="2690211"/>
                  </a:lnTo>
                  <a:lnTo>
                    <a:pt x="159659" y="2688977"/>
                  </a:lnTo>
                  <a:lnTo>
                    <a:pt x="164485" y="2684360"/>
                  </a:lnTo>
                  <a:lnTo>
                    <a:pt x="164313" y="2679999"/>
                  </a:lnTo>
                  <a:lnTo>
                    <a:pt x="164169" y="2676348"/>
                  </a:lnTo>
                  <a:lnTo>
                    <a:pt x="152734" y="2653571"/>
                  </a:lnTo>
                  <a:lnTo>
                    <a:pt x="152619" y="2646784"/>
                  </a:lnTo>
                  <a:lnTo>
                    <a:pt x="155562" y="2639281"/>
                  </a:lnTo>
                  <a:lnTo>
                    <a:pt x="158900" y="2625965"/>
                  </a:lnTo>
                  <a:lnTo>
                    <a:pt x="159689" y="2616447"/>
                  </a:lnTo>
                  <a:lnTo>
                    <a:pt x="158406" y="2614422"/>
                  </a:lnTo>
                  <a:lnTo>
                    <a:pt x="155841" y="2613777"/>
                  </a:lnTo>
                  <a:lnTo>
                    <a:pt x="153008" y="2608437"/>
                  </a:lnTo>
                  <a:lnTo>
                    <a:pt x="151338" y="2602541"/>
                  </a:lnTo>
                  <a:lnTo>
                    <a:pt x="150571" y="2597347"/>
                  </a:lnTo>
                  <a:lnTo>
                    <a:pt x="151727" y="2592822"/>
                  </a:lnTo>
                  <a:lnTo>
                    <a:pt x="156003" y="2589063"/>
                  </a:lnTo>
                  <a:lnTo>
                    <a:pt x="149417" y="2588311"/>
                  </a:lnTo>
                  <a:lnTo>
                    <a:pt x="133890" y="2583797"/>
                  </a:lnTo>
                  <a:lnTo>
                    <a:pt x="128485" y="2580826"/>
                  </a:lnTo>
                  <a:lnTo>
                    <a:pt x="127704" y="2579982"/>
                  </a:lnTo>
                  <a:lnTo>
                    <a:pt x="126895" y="2579639"/>
                  </a:lnTo>
                  <a:lnTo>
                    <a:pt x="125977" y="2579884"/>
                  </a:lnTo>
                  <a:lnTo>
                    <a:pt x="125144" y="2580637"/>
                  </a:lnTo>
                  <a:lnTo>
                    <a:pt x="112654" y="2583742"/>
                  </a:lnTo>
                  <a:lnTo>
                    <a:pt x="109061" y="2583359"/>
                  </a:lnTo>
                  <a:lnTo>
                    <a:pt x="106304" y="2580861"/>
                  </a:lnTo>
                  <a:lnTo>
                    <a:pt x="103563" y="2574159"/>
                  </a:lnTo>
                  <a:lnTo>
                    <a:pt x="100793" y="2571273"/>
                  </a:lnTo>
                  <a:lnTo>
                    <a:pt x="103964" y="2566512"/>
                  </a:lnTo>
                  <a:lnTo>
                    <a:pt x="99744" y="2565943"/>
                  </a:lnTo>
                  <a:lnTo>
                    <a:pt x="96890" y="2564534"/>
                  </a:lnTo>
                  <a:lnTo>
                    <a:pt x="96552" y="2561909"/>
                  </a:lnTo>
                  <a:lnTo>
                    <a:pt x="99655" y="2557678"/>
                  </a:lnTo>
                  <a:lnTo>
                    <a:pt x="94060" y="2549683"/>
                  </a:lnTo>
                  <a:lnTo>
                    <a:pt x="101338" y="2539563"/>
                  </a:lnTo>
                  <a:lnTo>
                    <a:pt x="113313" y="2530690"/>
                  </a:lnTo>
                  <a:lnTo>
                    <a:pt x="121680" y="2526313"/>
                  </a:lnTo>
                  <a:lnTo>
                    <a:pt x="121797" y="2524248"/>
                  </a:lnTo>
                  <a:lnTo>
                    <a:pt x="126202" y="2519465"/>
                  </a:lnTo>
                  <a:lnTo>
                    <a:pt x="129036" y="2514534"/>
                  </a:lnTo>
                  <a:lnTo>
                    <a:pt x="128406" y="2511065"/>
                  </a:lnTo>
                  <a:lnTo>
                    <a:pt x="103436" y="2509009"/>
                  </a:lnTo>
                  <a:lnTo>
                    <a:pt x="96214" y="2504651"/>
                  </a:lnTo>
                  <a:lnTo>
                    <a:pt x="92461" y="2496200"/>
                  </a:lnTo>
                  <a:lnTo>
                    <a:pt x="97467" y="2493384"/>
                  </a:lnTo>
                  <a:lnTo>
                    <a:pt x="77415" y="2458334"/>
                  </a:lnTo>
                  <a:lnTo>
                    <a:pt x="70877" y="2450959"/>
                  </a:lnTo>
                  <a:lnTo>
                    <a:pt x="64897" y="2450040"/>
                  </a:lnTo>
                  <a:lnTo>
                    <a:pt x="50356" y="2453140"/>
                  </a:lnTo>
                  <a:lnTo>
                    <a:pt x="45608" y="2452293"/>
                  </a:lnTo>
                  <a:lnTo>
                    <a:pt x="44476" y="2447428"/>
                  </a:lnTo>
                  <a:lnTo>
                    <a:pt x="46181" y="2441488"/>
                  </a:lnTo>
                  <a:lnTo>
                    <a:pt x="46324" y="2435987"/>
                  </a:lnTo>
                  <a:lnTo>
                    <a:pt x="40504" y="2432469"/>
                  </a:lnTo>
                  <a:lnTo>
                    <a:pt x="40045" y="2431374"/>
                  </a:lnTo>
                  <a:lnTo>
                    <a:pt x="40070" y="2430339"/>
                  </a:lnTo>
                  <a:lnTo>
                    <a:pt x="40356" y="2429320"/>
                  </a:lnTo>
                  <a:lnTo>
                    <a:pt x="41017" y="2428293"/>
                  </a:lnTo>
                  <a:lnTo>
                    <a:pt x="42248" y="2420904"/>
                  </a:lnTo>
                  <a:lnTo>
                    <a:pt x="40108" y="2417281"/>
                  </a:lnTo>
                  <a:lnTo>
                    <a:pt x="36678" y="2414555"/>
                  </a:lnTo>
                  <a:lnTo>
                    <a:pt x="34207" y="2409608"/>
                  </a:lnTo>
                  <a:lnTo>
                    <a:pt x="33122" y="2402197"/>
                  </a:lnTo>
                  <a:lnTo>
                    <a:pt x="38518" y="2403917"/>
                  </a:lnTo>
                  <a:lnTo>
                    <a:pt x="43994" y="2399362"/>
                  </a:lnTo>
                  <a:lnTo>
                    <a:pt x="46303" y="2392689"/>
                  </a:lnTo>
                  <a:lnTo>
                    <a:pt x="45836" y="2387390"/>
                  </a:lnTo>
                  <a:lnTo>
                    <a:pt x="45798" y="2382442"/>
                  </a:lnTo>
                  <a:lnTo>
                    <a:pt x="49308" y="2376906"/>
                  </a:lnTo>
                  <a:lnTo>
                    <a:pt x="54432" y="2374373"/>
                  </a:lnTo>
                  <a:lnTo>
                    <a:pt x="62509" y="2375567"/>
                  </a:lnTo>
                  <a:lnTo>
                    <a:pt x="66819" y="2370966"/>
                  </a:lnTo>
                  <a:lnTo>
                    <a:pt x="69364" y="2365226"/>
                  </a:lnTo>
                  <a:lnTo>
                    <a:pt x="69746" y="2360687"/>
                  </a:lnTo>
                  <a:lnTo>
                    <a:pt x="67391" y="2348761"/>
                  </a:lnTo>
                  <a:lnTo>
                    <a:pt x="68286" y="2345024"/>
                  </a:lnTo>
                  <a:lnTo>
                    <a:pt x="70367" y="2342039"/>
                  </a:lnTo>
                  <a:lnTo>
                    <a:pt x="71211" y="2339779"/>
                  </a:lnTo>
                  <a:lnTo>
                    <a:pt x="59703" y="2334975"/>
                  </a:lnTo>
                  <a:lnTo>
                    <a:pt x="51545" y="2329124"/>
                  </a:lnTo>
                  <a:lnTo>
                    <a:pt x="48977" y="2325919"/>
                  </a:lnTo>
                  <a:lnTo>
                    <a:pt x="48321" y="2321317"/>
                  </a:lnTo>
                  <a:lnTo>
                    <a:pt x="48297" y="2313054"/>
                  </a:lnTo>
                  <a:lnTo>
                    <a:pt x="49959" y="2308386"/>
                  </a:lnTo>
                  <a:lnTo>
                    <a:pt x="52440" y="2303709"/>
                  </a:lnTo>
                  <a:lnTo>
                    <a:pt x="51877" y="2300684"/>
                  </a:lnTo>
                  <a:lnTo>
                    <a:pt x="38894" y="2301467"/>
                  </a:lnTo>
                  <a:lnTo>
                    <a:pt x="29652" y="2297764"/>
                  </a:lnTo>
                  <a:lnTo>
                    <a:pt x="24717" y="2296779"/>
                  </a:lnTo>
                  <a:lnTo>
                    <a:pt x="19768" y="2297868"/>
                  </a:lnTo>
                  <a:lnTo>
                    <a:pt x="10160" y="2301925"/>
                  </a:lnTo>
                  <a:lnTo>
                    <a:pt x="5196" y="2302623"/>
                  </a:lnTo>
                  <a:lnTo>
                    <a:pt x="5717" y="2288201"/>
                  </a:lnTo>
                  <a:lnTo>
                    <a:pt x="1207" y="2271438"/>
                  </a:lnTo>
                  <a:lnTo>
                    <a:pt x="0" y="2257944"/>
                  </a:lnTo>
                  <a:lnTo>
                    <a:pt x="10378" y="2253259"/>
                  </a:lnTo>
                  <a:lnTo>
                    <a:pt x="15172" y="2256370"/>
                  </a:lnTo>
                  <a:lnTo>
                    <a:pt x="19094" y="2262195"/>
                  </a:lnTo>
                  <a:lnTo>
                    <a:pt x="23608" y="2266887"/>
                  </a:lnTo>
                  <a:lnTo>
                    <a:pt x="30253" y="2266582"/>
                  </a:lnTo>
                  <a:lnTo>
                    <a:pt x="34964" y="2261984"/>
                  </a:lnTo>
                  <a:lnTo>
                    <a:pt x="42745" y="2247873"/>
                  </a:lnTo>
                  <a:lnTo>
                    <a:pt x="47901" y="2242587"/>
                  </a:lnTo>
                  <a:lnTo>
                    <a:pt x="82617" y="2218491"/>
                  </a:lnTo>
                  <a:lnTo>
                    <a:pt x="103669" y="2208585"/>
                  </a:lnTo>
                  <a:lnTo>
                    <a:pt x="109413" y="2201799"/>
                  </a:lnTo>
                  <a:lnTo>
                    <a:pt x="102315" y="2194321"/>
                  </a:lnTo>
                  <a:lnTo>
                    <a:pt x="110882" y="2188085"/>
                  </a:lnTo>
                  <a:lnTo>
                    <a:pt x="113827" y="2186585"/>
                  </a:lnTo>
                  <a:lnTo>
                    <a:pt x="105783" y="2183271"/>
                  </a:lnTo>
                  <a:lnTo>
                    <a:pt x="87233" y="2194511"/>
                  </a:lnTo>
                  <a:lnTo>
                    <a:pt x="79116" y="2189320"/>
                  </a:lnTo>
                  <a:lnTo>
                    <a:pt x="77193" y="2178618"/>
                  </a:lnTo>
                  <a:lnTo>
                    <a:pt x="78989" y="2165932"/>
                  </a:lnTo>
                  <a:lnTo>
                    <a:pt x="82733" y="2154739"/>
                  </a:lnTo>
                  <a:lnTo>
                    <a:pt x="86764" y="2148657"/>
                  </a:lnTo>
                  <a:lnTo>
                    <a:pt x="94842" y="2139880"/>
                  </a:lnTo>
                  <a:lnTo>
                    <a:pt x="115134" y="2107063"/>
                  </a:lnTo>
                  <a:lnTo>
                    <a:pt x="119071" y="2103608"/>
                  </a:lnTo>
                  <a:lnTo>
                    <a:pt x="128508" y="2097789"/>
                  </a:lnTo>
                  <a:lnTo>
                    <a:pt x="132338" y="2092961"/>
                  </a:lnTo>
                  <a:lnTo>
                    <a:pt x="134665" y="2085961"/>
                  </a:lnTo>
                  <a:lnTo>
                    <a:pt x="136492" y="2073511"/>
                  </a:lnTo>
                  <a:lnTo>
                    <a:pt x="138844" y="2068613"/>
                  </a:lnTo>
                  <a:lnTo>
                    <a:pt x="133843" y="2061854"/>
                  </a:lnTo>
                  <a:lnTo>
                    <a:pt x="134930" y="2051359"/>
                  </a:lnTo>
                  <a:lnTo>
                    <a:pt x="138355" y="2039373"/>
                  </a:lnTo>
                  <a:lnTo>
                    <a:pt x="140295" y="2028145"/>
                  </a:lnTo>
                  <a:lnTo>
                    <a:pt x="139166" y="2017687"/>
                  </a:lnTo>
                  <a:lnTo>
                    <a:pt x="137715" y="1998828"/>
                  </a:lnTo>
                  <a:lnTo>
                    <a:pt x="124369" y="1981381"/>
                  </a:lnTo>
                  <a:lnTo>
                    <a:pt x="102679" y="1947382"/>
                  </a:lnTo>
                  <a:lnTo>
                    <a:pt x="101558" y="1940283"/>
                  </a:lnTo>
                  <a:lnTo>
                    <a:pt x="103948" y="1932236"/>
                  </a:lnTo>
                  <a:lnTo>
                    <a:pt x="108844" y="1919705"/>
                  </a:lnTo>
                  <a:lnTo>
                    <a:pt x="85507" y="1907695"/>
                  </a:lnTo>
                  <a:lnTo>
                    <a:pt x="78014" y="1896820"/>
                  </a:lnTo>
                  <a:lnTo>
                    <a:pt x="83746" y="1880935"/>
                  </a:lnTo>
                  <a:lnTo>
                    <a:pt x="80457" y="1877095"/>
                  </a:lnTo>
                  <a:lnTo>
                    <a:pt x="72929" y="1870612"/>
                  </a:lnTo>
                  <a:lnTo>
                    <a:pt x="68993" y="1868418"/>
                  </a:lnTo>
                  <a:lnTo>
                    <a:pt x="58714" y="1868026"/>
                  </a:lnTo>
                  <a:lnTo>
                    <a:pt x="55295" y="1866380"/>
                  </a:lnTo>
                  <a:lnTo>
                    <a:pt x="55965" y="1860263"/>
                  </a:lnTo>
                  <a:lnTo>
                    <a:pt x="58186" y="1858302"/>
                  </a:lnTo>
                  <a:lnTo>
                    <a:pt x="64297" y="1852908"/>
                  </a:lnTo>
                  <a:lnTo>
                    <a:pt x="65624" y="1841409"/>
                  </a:lnTo>
                  <a:lnTo>
                    <a:pt x="61596" y="1830071"/>
                  </a:lnTo>
                  <a:lnTo>
                    <a:pt x="53953" y="1823397"/>
                  </a:lnTo>
                  <a:lnTo>
                    <a:pt x="55471" y="1818381"/>
                  </a:lnTo>
                  <a:lnTo>
                    <a:pt x="61598" y="1814566"/>
                  </a:lnTo>
                  <a:lnTo>
                    <a:pt x="76154" y="1812878"/>
                  </a:lnTo>
                  <a:lnTo>
                    <a:pt x="83148" y="1810370"/>
                  </a:lnTo>
                  <a:lnTo>
                    <a:pt x="90767" y="1805365"/>
                  </a:lnTo>
                  <a:lnTo>
                    <a:pt x="95996" y="1802955"/>
                  </a:lnTo>
                  <a:lnTo>
                    <a:pt x="110584" y="1799932"/>
                  </a:lnTo>
                  <a:lnTo>
                    <a:pt x="121843" y="1803679"/>
                  </a:lnTo>
                  <a:lnTo>
                    <a:pt x="130026" y="1806307"/>
                  </a:lnTo>
                  <a:lnTo>
                    <a:pt x="135628" y="1808056"/>
                  </a:lnTo>
                  <a:lnTo>
                    <a:pt x="131331" y="1800282"/>
                  </a:lnTo>
                  <a:lnTo>
                    <a:pt x="119002" y="1785638"/>
                  </a:lnTo>
                  <a:lnTo>
                    <a:pt x="114831" y="1782045"/>
                  </a:lnTo>
                  <a:lnTo>
                    <a:pt x="127195" y="1776233"/>
                  </a:lnTo>
                  <a:lnTo>
                    <a:pt x="138237" y="1782284"/>
                  </a:lnTo>
                  <a:lnTo>
                    <a:pt x="149024" y="1792164"/>
                  </a:lnTo>
                  <a:lnTo>
                    <a:pt x="160651" y="1797766"/>
                  </a:lnTo>
                  <a:lnTo>
                    <a:pt x="171793" y="1795961"/>
                  </a:lnTo>
                  <a:lnTo>
                    <a:pt x="174687" y="1796482"/>
                  </a:lnTo>
                  <a:lnTo>
                    <a:pt x="177061" y="1799074"/>
                  </a:lnTo>
                  <a:lnTo>
                    <a:pt x="180559" y="1806319"/>
                  </a:lnTo>
                  <a:lnTo>
                    <a:pt x="182051" y="1808373"/>
                  </a:lnTo>
                  <a:lnTo>
                    <a:pt x="195457" y="1811200"/>
                  </a:lnTo>
                  <a:lnTo>
                    <a:pt x="200992" y="1814872"/>
                  </a:lnTo>
                  <a:lnTo>
                    <a:pt x="201550" y="1823829"/>
                  </a:lnTo>
                  <a:lnTo>
                    <a:pt x="214995" y="1820861"/>
                  </a:lnTo>
                  <a:lnTo>
                    <a:pt x="216770" y="1815246"/>
                  </a:lnTo>
                  <a:lnTo>
                    <a:pt x="214606" y="1802202"/>
                  </a:lnTo>
                  <a:lnTo>
                    <a:pt x="236832" y="1810159"/>
                  </a:lnTo>
                  <a:lnTo>
                    <a:pt x="244012" y="1810549"/>
                  </a:lnTo>
                  <a:lnTo>
                    <a:pt x="249989" y="1808209"/>
                  </a:lnTo>
                  <a:lnTo>
                    <a:pt x="268055" y="1795768"/>
                  </a:lnTo>
                  <a:lnTo>
                    <a:pt x="303768" y="1785572"/>
                  </a:lnTo>
                  <a:lnTo>
                    <a:pt x="335011" y="1786172"/>
                  </a:lnTo>
                  <a:lnTo>
                    <a:pt x="344815" y="1781472"/>
                  </a:lnTo>
                  <a:lnTo>
                    <a:pt x="353502" y="1772069"/>
                  </a:lnTo>
                  <a:lnTo>
                    <a:pt x="362279" y="1757828"/>
                  </a:lnTo>
                  <a:lnTo>
                    <a:pt x="365311" y="1754798"/>
                  </a:lnTo>
                  <a:lnTo>
                    <a:pt x="368026" y="1754459"/>
                  </a:lnTo>
                  <a:lnTo>
                    <a:pt x="369895" y="1752806"/>
                  </a:lnTo>
                  <a:lnTo>
                    <a:pt x="370569" y="1745839"/>
                  </a:lnTo>
                  <a:lnTo>
                    <a:pt x="369889" y="1741943"/>
                  </a:lnTo>
                  <a:lnTo>
                    <a:pt x="368208" y="1739092"/>
                  </a:lnTo>
                  <a:lnTo>
                    <a:pt x="359605" y="1728988"/>
                  </a:lnTo>
                  <a:lnTo>
                    <a:pt x="337301" y="1714930"/>
                  </a:lnTo>
                  <a:lnTo>
                    <a:pt x="329719" y="1712249"/>
                  </a:lnTo>
                  <a:lnTo>
                    <a:pt x="324332" y="1707992"/>
                  </a:lnTo>
                  <a:lnTo>
                    <a:pt x="324056" y="1699247"/>
                  </a:lnTo>
                  <a:lnTo>
                    <a:pt x="326795" y="1693423"/>
                  </a:lnTo>
                  <a:lnTo>
                    <a:pt x="330029" y="1692079"/>
                  </a:lnTo>
                  <a:lnTo>
                    <a:pt x="333744" y="1692002"/>
                  </a:lnTo>
                  <a:lnTo>
                    <a:pt x="338062" y="1690092"/>
                  </a:lnTo>
                  <a:lnTo>
                    <a:pt x="341075" y="1686649"/>
                  </a:lnTo>
                  <a:lnTo>
                    <a:pt x="344312" y="1679518"/>
                  </a:lnTo>
                  <a:lnTo>
                    <a:pt x="346326" y="1676365"/>
                  </a:lnTo>
                  <a:lnTo>
                    <a:pt x="352588" y="1670450"/>
                  </a:lnTo>
                  <a:lnTo>
                    <a:pt x="358367" y="1667572"/>
                  </a:lnTo>
                  <a:lnTo>
                    <a:pt x="360379" y="1667448"/>
                  </a:lnTo>
                  <a:lnTo>
                    <a:pt x="381224" y="1666134"/>
                  </a:lnTo>
                  <a:lnTo>
                    <a:pt x="385846" y="1662292"/>
                  </a:lnTo>
                  <a:lnTo>
                    <a:pt x="394382" y="1646789"/>
                  </a:lnTo>
                  <a:lnTo>
                    <a:pt x="401542" y="1639961"/>
                  </a:lnTo>
                  <a:lnTo>
                    <a:pt x="416888" y="1634073"/>
                  </a:lnTo>
                  <a:lnTo>
                    <a:pt x="424175" y="1628176"/>
                  </a:lnTo>
                  <a:lnTo>
                    <a:pt x="433030" y="1615163"/>
                  </a:lnTo>
                  <a:lnTo>
                    <a:pt x="437002" y="1610927"/>
                  </a:lnTo>
                  <a:lnTo>
                    <a:pt x="453001" y="1602150"/>
                  </a:lnTo>
                  <a:lnTo>
                    <a:pt x="454116" y="1599257"/>
                  </a:lnTo>
                  <a:lnTo>
                    <a:pt x="453314" y="1597591"/>
                  </a:lnTo>
                  <a:lnTo>
                    <a:pt x="451442" y="1593702"/>
                  </a:lnTo>
                  <a:lnTo>
                    <a:pt x="448909" y="1581350"/>
                  </a:lnTo>
                  <a:lnTo>
                    <a:pt x="449619" y="1570892"/>
                  </a:lnTo>
                  <a:lnTo>
                    <a:pt x="452552" y="1562390"/>
                  </a:lnTo>
                  <a:lnTo>
                    <a:pt x="460320" y="1546388"/>
                  </a:lnTo>
                  <a:lnTo>
                    <a:pt x="464251" y="1525695"/>
                  </a:lnTo>
                  <a:lnTo>
                    <a:pt x="460037" y="1510780"/>
                  </a:lnTo>
                  <a:lnTo>
                    <a:pt x="440469" y="1475167"/>
                  </a:lnTo>
                  <a:lnTo>
                    <a:pt x="438226" y="1476096"/>
                  </a:lnTo>
                  <a:lnTo>
                    <a:pt x="435883" y="1479831"/>
                  </a:lnTo>
                  <a:lnTo>
                    <a:pt x="432497" y="1482748"/>
                  </a:lnTo>
                  <a:lnTo>
                    <a:pt x="423664" y="1484901"/>
                  </a:lnTo>
                  <a:lnTo>
                    <a:pt x="414492" y="1485066"/>
                  </a:lnTo>
                  <a:lnTo>
                    <a:pt x="404746" y="1482979"/>
                  </a:lnTo>
                  <a:lnTo>
                    <a:pt x="387097" y="1475187"/>
                  </a:lnTo>
                  <a:lnTo>
                    <a:pt x="359739" y="1469898"/>
                  </a:lnTo>
                  <a:lnTo>
                    <a:pt x="350799" y="1464933"/>
                  </a:lnTo>
                  <a:lnTo>
                    <a:pt x="344344" y="1456553"/>
                  </a:lnTo>
                  <a:lnTo>
                    <a:pt x="342663" y="1447929"/>
                  </a:lnTo>
                  <a:lnTo>
                    <a:pt x="342681" y="1437836"/>
                  </a:lnTo>
                  <a:lnTo>
                    <a:pt x="341988" y="1427575"/>
                  </a:lnTo>
                  <a:lnTo>
                    <a:pt x="338181" y="1418396"/>
                  </a:lnTo>
                  <a:lnTo>
                    <a:pt x="343951" y="1418174"/>
                  </a:lnTo>
                  <a:lnTo>
                    <a:pt x="363726" y="1409371"/>
                  </a:lnTo>
                  <a:lnTo>
                    <a:pt x="352848" y="1399126"/>
                  </a:lnTo>
                  <a:lnTo>
                    <a:pt x="350599" y="1395328"/>
                  </a:lnTo>
                  <a:lnTo>
                    <a:pt x="350736" y="1390570"/>
                  </a:lnTo>
                  <a:lnTo>
                    <a:pt x="352558" y="1385911"/>
                  </a:lnTo>
                  <a:lnTo>
                    <a:pt x="353503" y="1380825"/>
                  </a:lnTo>
                  <a:lnTo>
                    <a:pt x="350908" y="1374700"/>
                  </a:lnTo>
                  <a:lnTo>
                    <a:pt x="357127" y="1370639"/>
                  </a:lnTo>
                  <a:lnTo>
                    <a:pt x="363582" y="1366420"/>
                  </a:lnTo>
                  <a:lnTo>
                    <a:pt x="375372" y="1363390"/>
                  </a:lnTo>
                  <a:lnTo>
                    <a:pt x="408279" y="1364486"/>
                  </a:lnTo>
                  <a:lnTo>
                    <a:pt x="426384" y="1370957"/>
                  </a:lnTo>
                  <a:lnTo>
                    <a:pt x="443596" y="1369222"/>
                  </a:lnTo>
                  <a:lnTo>
                    <a:pt x="448721" y="1371683"/>
                  </a:lnTo>
                  <a:lnTo>
                    <a:pt x="460899" y="1376146"/>
                  </a:lnTo>
                  <a:lnTo>
                    <a:pt x="467781" y="1364218"/>
                  </a:lnTo>
                  <a:lnTo>
                    <a:pt x="471268" y="1344201"/>
                  </a:lnTo>
                  <a:lnTo>
                    <a:pt x="477376" y="1282675"/>
                  </a:lnTo>
                  <a:lnTo>
                    <a:pt x="481267" y="1263712"/>
                  </a:lnTo>
                  <a:lnTo>
                    <a:pt x="485239" y="1253988"/>
                  </a:lnTo>
                  <a:lnTo>
                    <a:pt x="488246" y="1246622"/>
                  </a:lnTo>
                  <a:lnTo>
                    <a:pt x="518582" y="1203221"/>
                  </a:lnTo>
                  <a:lnTo>
                    <a:pt x="526918" y="1184424"/>
                  </a:lnTo>
                  <a:lnTo>
                    <a:pt x="530903" y="1166348"/>
                  </a:lnTo>
                  <a:lnTo>
                    <a:pt x="532357" y="1145896"/>
                  </a:lnTo>
                  <a:lnTo>
                    <a:pt x="531007" y="1104848"/>
                  </a:lnTo>
                  <a:lnTo>
                    <a:pt x="529957" y="1099802"/>
                  </a:lnTo>
                  <a:lnTo>
                    <a:pt x="528426" y="1096744"/>
                  </a:lnTo>
                  <a:lnTo>
                    <a:pt x="527279" y="1093055"/>
                  </a:lnTo>
                  <a:lnTo>
                    <a:pt x="527341" y="1086209"/>
                  </a:lnTo>
                  <a:lnTo>
                    <a:pt x="528400" y="1081642"/>
                  </a:lnTo>
                  <a:lnTo>
                    <a:pt x="533820" y="1069281"/>
                  </a:lnTo>
                  <a:lnTo>
                    <a:pt x="536599" y="1059553"/>
                  </a:lnTo>
                  <a:lnTo>
                    <a:pt x="538060" y="1050700"/>
                  </a:lnTo>
                  <a:lnTo>
                    <a:pt x="538120" y="1041515"/>
                  </a:lnTo>
                  <a:lnTo>
                    <a:pt x="537865" y="1025248"/>
                  </a:lnTo>
                  <a:lnTo>
                    <a:pt x="541315" y="1023538"/>
                  </a:lnTo>
                  <a:lnTo>
                    <a:pt x="545398" y="1019526"/>
                  </a:lnTo>
                  <a:lnTo>
                    <a:pt x="548588" y="1015474"/>
                  </a:lnTo>
                  <a:lnTo>
                    <a:pt x="551920" y="1009493"/>
                  </a:lnTo>
                  <a:lnTo>
                    <a:pt x="553391" y="1002734"/>
                  </a:lnTo>
                  <a:lnTo>
                    <a:pt x="551115" y="996321"/>
                  </a:lnTo>
                  <a:lnTo>
                    <a:pt x="560310" y="983587"/>
                  </a:lnTo>
                  <a:lnTo>
                    <a:pt x="565053" y="981417"/>
                  </a:lnTo>
                  <a:lnTo>
                    <a:pt x="572975" y="981620"/>
                  </a:lnTo>
                  <a:lnTo>
                    <a:pt x="580278" y="983891"/>
                  </a:lnTo>
                  <a:lnTo>
                    <a:pt x="591732" y="991903"/>
                  </a:lnTo>
                  <a:lnTo>
                    <a:pt x="598067" y="994778"/>
                  </a:lnTo>
                  <a:lnTo>
                    <a:pt x="590392" y="982296"/>
                  </a:lnTo>
                  <a:lnTo>
                    <a:pt x="577083" y="976745"/>
                  </a:lnTo>
                  <a:lnTo>
                    <a:pt x="499524" y="970517"/>
                  </a:lnTo>
                  <a:lnTo>
                    <a:pt x="487219" y="963657"/>
                  </a:lnTo>
                  <a:lnTo>
                    <a:pt x="482979" y="947524"/>
                  </a:lnTo>
                  <a:lnTo>
                    <a:pt x="484880" y="905192"/>
                  </a:lnTo>
                  <a:lnTo>
                    <a:pt x="486833" y="895639"/>
                  </a:lnTo>
                  <a:lnTo>
                    <a:pt x="494239" y="878607"/>
                  </a:lnTo>
                  <a:lnTo>
                    <a:pt x="496134" y="870169"/>
                  </a:lnTo>
                  <a:lnTo>
                    <a:pt x="499198" y="865094"/>
                  </a:lnTo>
                  <a:lnTo>
                    <a:pt x="505855" y="865493"/>
                  </a:lnTo>
                  <a:lnTo>
                    <a:pt x="519400" y="869118"/>
                  </a:lnTo>
                  <a:lnTo>
                    <a:pt x="521437" y="864599"/>
                  </a:lnTo>
                  <a:lnTo>
                    <a:pt x="524751" y="863002"/>
                  </a:lnTo>
                  <a:lnTo>
                    <a:pt x="527467" y="857535"/>
                  </a:lnTo>
                  <a:lnTo>
                    <a:pt x="527190" y="850303"/>
                  </a:lnTo>
                  <a:lnTo>
                    <a:pt x="524368" y="846074"/>
                  </a:lnTo>
                  <a:lnTo>
                    <a:pt x="514687" y="840601"/>
                  </a:lnTo>
                  <a:lnTo>
                    <a:pt x="510481" y="835844"/>
                  </a:lnTo>
                  <a:lnTo>
                    <a:pt x="510114" y="828302"/>
                  </a:lnTo>
                  <a:lnTo>
                    <a:pt x="515210" y="822225"/>
                  </a:lnTo>
                  <a:lnTo>
                    <a:pt x="526489" y="815074"/>
                  </a:lnTo>
                  <a:lnTo>
                    <a:pt x="539422" y="801799"/>
                  </a:lnTo>
                  <a:lnTo>
                    <a:pt x="546247" y="797514"/>
                  </a:lnTo>
                  <a:lnTo>
                    <a:pt x="559405" y="784939"/>
                  </a:lnTo>
                  <a:lnTo>
                    <a:pt x="586587" y="775642"/>
                  </a:lnTo>
                  <a:lnTo>
                    <a:pt x="638885" y="771919"/>
                  </a:lnTo>
                  <a:lnTo>
                    <a:pt x="642416" y="774578"/>
                  </a:lnTo>
                  <a:lnTo>
                    <a:pt x="645818" y="779701"/>
                  </a:lnTo>
                  <a:lnTo>
                    <a:pt x="653755" y="781954"/>
                  </a:lnTo>
                  <a:lnTo>
                    <a:pt x="704080" y="773450"/>
                  </a:lnTo>
                  <a:lnTo>
                    <a:pt x="806116" y="762871"/>
                  </a:lnTo>
                  <a:lnTo>
                    <a:pt x="832910" y="771684"/>
                  </a:lnTo>
                  <a:lnTo>
                    <a:pt x="832767" y="775940"/>
                  </a:lnTo>
                  <a:lnTo>
                    <a:pt x="830023" y="791912"/>
                  </a:lnTo>
                  <a:lnTo>
                    <a:pt x="838815" y="812944"/>
                  </a:lnTo>
                  <a:lnTo>
                    <a:pt x="852182" y="831443"/>
                  </a:lnTo>
                  <a:lnTo>
                    <a:pt x="863298" y="839781"/>
                  </a:lnTo>
                  <a:lnTo>
                    <a:pt x="863185" y="843294"/>
                  </a:lnTo>
                  <a:lnTo>
                    <a:pt x="860078" y="850458"/>
                  </a:lnTo>
                  <a:lnTo>
                    <a:pt x="865245" y="853182"/>
                  </a:lnTo>
                  <a:lnTo>
                    <a:pt x="872692" y="855581"/>
                  </a:lnTo>
                  <a:lnTo>
                    <a:pt x="876316" y="861678"/>
                  </a:lnTo>
                  <a:lnTo>
                    <a:pt x="874939" y="871923"/>
                  </a:lnTo>
                  <a:lnTo>
                    <a:pt x="871565" y="877079"/>
                  </a:lnTo>
                  <a:lnTo>
                    <a:pt x="864030" y="882405"/>
                  </a:lnTo>
                  <a:lnTo>
                    <a:pt x="857786" y="885398"/>
                  </a:lnTo>
                  <a:lnTo>
                    <a:pt x="844356" y="886176"/>
                  </a:lnTo>
                  <a:lnTo>
                    <a:pt x="838255" y="889749"/>
                  </a:lnTo>
                  <a:lnTo>
                    <a:pt x="843827" y="908996"/>
                  </a:lnTo>
                  <a:lnTo>
                    <a:pt x="846721" y="916283"/>
                  </a:lnTo>
                  <a:lnTo>
                    <a:pt x="851185" y="921409"/>
                  </a:lnTo>
                  <a:lnTo>
                    <a:pt x="855575" y="919454"/>
                  </a:lnTo>
                  <a:lnTo>
                    <a:pt x="859507" y="917903"/>
                  </a:lnTo>
                  <a:lnTo>
                    <a:pt x="865207" y="918317"/>
                  </a:lnTo>
                  <a:lnTo>
                    <a:pt x="869127" y="920627"/>
                  </a:lnTo>
                  <a:lnTo>
                    <a:pt x="875372" y="928364"/>
                  </a:lnTo>
                  <a:lnTo>
                    <a:pt x="877760" y="930069"/>
                  </a:lnTo>
                  <a:lnTo>
                    <a:pt x="880456" y="932572"/>
                  </a:lnTo>
                  <a:lnTo>
                    <a:pt x="883060" y="938030"/>
                  </a:lnTo>
                  <a:lnTo>
                    <a:pt x="886470" y="943512"/>
                  </a:lnTo>
                  <a:lnTo>
                    <a:pt x="891303" y="946103"/>
                  </a:lnTo>
                  <a:lnTo>
                    <a:pt x="897021" y="946115"/>
                  </a:lnTo>
                  <a:lnTo>
                    <a:pt x="901211" y="945285"/>
                  </a:lnTo>
                  <a:lnTo>
                    <a:pt x="904940" y="943162"/>
                  </a:lnTo>
                  <a:lnTo>
                    <a:pt x="909251" y="939170"/>
                  </a:lnTo>
                  <a:lnTo>
                    <a:pt x="916790" y="927382"/>
                  </a:lnTo>
                  <a:lnTo>
                    <a:pt x="924966" y="907928"/>
                  </a:lnTo>
                  <a:lnTo>
                    <a:pt x="927372" y="888375"/>
                  </a:lnTo>
                  <a:lnTo>
                    <a:pt x="917866" y="876575"/>
                  </a:lnTo>
                  <a:lnTo>
                    <a:pt x="904399" y="879761"/>
                  </a:lnTo>
                  <a:lnTo>
                    <a:pt x="897300" y="878336"/>
                  </a:lnTo>
                  <a:lnTo>
                    <a:pt x="898221" y="869984"/>
                  </a:lnTo>
                  <a:lnTo>
                    <a:pt x="901412" y="860676"/>
                  </a:lnTo>
                  <a:lnTo>
                    <a:pt x="904436" y="841330"/>
                  </a:lnTo>
                  <a:lnTo>
                    <a:pt x="907554" y="833323"/>
                  </a:lnTo>
                  <a:lnTo>
                    <a:pt x="912228" y="828644"/>
                  </a:lnTo>
                  <a:lnTo>
                    <a:pt x="918038" y="826511"/>
                  </a:lnTo>
                  <a:lnTo>
                    <a:pt x="932217" y="826227"/>
                  </a:lnTo>
                  <a:lnTo>
                    <a:pt x="938615" y="829414"/>
                  </a:lnTo>
                  <a:lnTo>
                    <a:pt x="943436" y="836582"/>
                  </a:lnTo>
                  <a:lnTo>
                    <a:pt x="947353" y="844514"/>
                  </a:lnTo>
                  <a:lnTo>
                    <a:pt x="951336" y="850213"/>
                  </a:lnTo>
                  <a:lnTo>
                    <a:pt x="964841" y="857663"/>
                  </a:lnTo>
                  <a:lnTo>
                    <a:pt x="993678" y="864167"/>
                  </a:lnTo>
                  <a:lnTo>
                    <a:pt x="1006640" y="870883"/>
                  </a:lnTo>
                  <a:lnTo>
                    <a:pt x="1006529" y="875116"/>
                  </a:lnTo>
                  <a:lnTo>
                    <a:pt x="998211" y="881930"/>
                  </a:lnTo>
                  <a:lnTo>
                    <a:pt x="990497" y="890850"/>
                  </a:lnTo>
                  <a:lnTo>
                    <a:pt x="984656" y="903029"/>
                  </a:lnTo>
                  <a:lnTo>
                    <a:pt x="982128" y="919581"/>
                  </a:lnTo>
                  <a:lnTo>
                    <a:pt x="981643" y="951688"/>
                  </a:lnTo>
                  <a:lnTo>
                    <a:pt x="983258" y="965884"/>
                  </a:lnTo>
                  <a:lnTo>
                    <a:pt x="987583" y="976519"/>
                  </a:lnTo>
                  <a:lnTo>
                    <a:pt x="988962" y="962405"/>
                  </a:lnTo>
                  <a:lnTo>
                    <a:pt x="986319" y="926605"/>
                  </a:lnTo>
                  <a:lnTo>
                    <a:pt x="987051" y="909751"/>
                  </a:lnTo>
                  <a:lnTo>
                    <a:pt x="992591" y="897469"/>
                  </a:lnTo>
                  <a:lnTo>
                    <a:pt x="1000543" y="892137"/>
                  </a:lnTo>
                  <a:lnTo>
                    <a:pt x="1007808" y="885437"/>
                  </a:lnTo>
                  <a:lnTo>
                    <a:pt x="1011332" y="869234"/>
                  </a:lnTo>
                  <a:lnTo>
                    <a:pt x="1009720" y="866330"/>
                  </a:lnTo>
                  <a:lnTo>
                    <a:pt x="1001604" y="843777"/>
                  </a:lnTo>
                  <a:lnTo>
                    <a:pt x="999097" y="840359"/>
                  </a:lnTo>
                  <a:lnTo>
                    <a:pt x="995770" y="832522"/>
                  </a:lnTo>
                  <a:lnTo>
                    <a:pt x="993018" y="823885"/>
                  </a:lnTo>
                  <a:lnTo>
                    <a:pt x="990911" y="812936"/>
                  </a:lnTo>
                  <a:lnTo>
                    <a:pt x="986466" y="799807"/>
                  </a:lnTo>
                  <a:lnTo>
                    <a:pt x="985650" y="790267"/>
                  </a:lnTo>
                  <a:lnTo>
                    <a:pt x="986656" y="780658"/>
                  </a:lnTo>
                  <a:lnTo>
                    <a:pt x="988951" y="772293"/>
                  </a:lnTo>
                  <a:lnTo>
                    <a:pt x="1002464" y="740881"/>
                  </a:lnTo>
                  <a:lnTo>
                    <a:pt x="1012336" y="706670"/>
                  </a:lnTo>
                  <a:lnTo>
                    <a:pt x="1018501" y="691562"/>
                  </a:lnTo>
                  <a:lnTo>
                    <a:pt x="1023521" y="684381"/>
                  </a:lnTo>
                  <a:lnTo>
                    <a:pt x="1030268" y="678198"/>
                  </a:lnTo>
                  <a:lnTo>
                    <a:pt x="1037843" y="673897"/>
                  </a:lnTo>
                  <a:lnTo>
                    <a:pt x="1045512" y="672317"/>
                  </a:lnTo>
                  <a:lnTo>
                    <a:pt x="1052520" y="673001"/>
                  </a:lnTo>
                  <a:lnTo>
                    <a:pt x="1056481" y="674863"/>
                  </a:lnTo>
                  <a:lnTo>
                    <a:pt x="1064536" y="684505"/>
                  </a:lnTo>
                  <a:lnTo>
                    <a:pt x="1076258" y="694973"/>
                  </a:lnTo>
                  <a:lnTo>
                    <a:pt x="1088868" y="701941"/>
                  </a:lnTo>
                  <a:lnTo>
                    <a:pt x="1115112" y="709085"/>
                  </a:lnTo>
                  <a:lnTo>
                    <a:pt x="1129596" y="708975"/>
                  </a:lnTo>
                  <a:lnTo>
                    <a:pt x="1154249" y="703363"/>
                  </a:lnTo>
                  <a:lnTo>
                    <a:pt x="1167738" y="704723"/>
                  </a:lnTo>
                  <a:lnTo>
                    <a:pt x="1174201" y="697378"/>
                  </a:lnTo>
                  <a:lnTo>
                    <a:pt x="1201146" y="691275"/>
                  </a:lnTo>
                  <a:lnTo>
                    <a:pt x="1227820" y="692000"/>
                  </a:lnTo>
                  <a:lnTo>
                    <a:pt x="1233656" y="687935"/>
                  </a:lnTo>
                  <a:lnTo>
                    <a:pt x="1238180" y="691477"/>
                  </a:lnTo>
                  <a:lnTo>
                    <a:pt x="1243707" y="692569"/>
                  </a:lnTo>
                  <a:lnTo>
                    <a:pt x="1255162" y="692196"/>
                  </a:lnTo>
                  <a:lnTo>
                    <a:pt x="1258067" y="694243"/>
                  </a:lnTo>
                  <a:lnTo>
                    <a:pt x="1265324" y="704129"/>
                  </a:lnTo>
                  <a:lnTo>
                    <a:pt x="1297325" y="763007"/>
                  </a:lnTo>
                  <a:lnTo>
                    <a:pt x="1310701" y="779269"/>
                  </a:lnTo>
                  <a:lnTo>
                    <a:pt x="1320099" y="787213"/>
                  </a:lnTo>
                  <a:lnTo>
                    <a:pt x="1324676" y="793301"/>
                  </a:lnTo>
                  <a:lnTo>
                    <a:pt x="1329080" y="810645"/>
                  </a:lnTo>
                  <a:lnTo>
                    <a:pt x="1351943" y="845388"/>
                  </a:lnTo>
                  <a:lnTo>
                    <a:pt x="1357079" y="850196"/>
                  </a:lnTo>
                  <a:lnTo>
                    <a:pt x="1363345" y="853106"/>
                  </a:lnTo>
                  <a:lnTo>
                    <a:pt x="1371430" y="854175"/>
                  </a:lnTo>
                  <a:lnTo>
                    <a:pt x="1375634" y="856291"/>
                  </a:lnTo>
                  <a:lnTo>
                    <a:pt x="1395664" y="870441"/>
                  </a:lnTo>
                  <a:lnTo>
                    <a:pt x="1418511" y="875780"/>
                  </a:lnTo>
                  <a:lnTo>
                    <a:pt x="1437171" y="880133"/>
                  </a:lnTo>
                  <a:lnTo>
                    <a:pt x="1441613" y="878310"/>
                  </a:lnTo>
                  <a:lnTo>
                    <a:pt x="1437445" y="870830"/>
                  </a:lnTo>
                  <a:lnTo>
                    <a:pt x="1424766" y="863227"/>
                  </a:lnTo>
                  <a:lnTo>
                    <a:pt x="1394341" y="859399"/>
                  </a:lnTo>
                  <a:lnTo>
                    <a:pt x="1381958" y="854290"/>
                  </a:lnTo>
                  <a:lnTo>
                    <a:pt x="1357665" y="838103"/>
                  </a:lnTo>
                  <a:lnTo>
                    <a:pt x="1346665" y="825314"/>
                  </a:lnTo>
                  <a:lnTo>
                    <a:pt x="1342919" y="807028"/>
                  </a:lnTo>
                  <a:lnTo>
                    <a:pt x="1342123" y="791429"/>
                  </a:lnTo>
                  <a:lnTo>
                    <a:pt x="1340925" y="781456"/>
                  </a:lnTo>
                  <a:lnTo>
                    <a:pt x="1337577" y="778295"/>
                  </a:lnTo>
                  <a:lnTo>
                    <a:pt x="1321802" y="769206"/>
                  </a:lnTo>
                  <a:lnTo>
                    <a:pt x="1316733" y="767275"/>
                  </a:lnTo>
                  <a:lnTo>
                    <a:pt x="1308579" y="759580"/>
                  </a:lnTo>
                  <a:lnTo>
                    <a:pt x="1300925" y="742279"/>
                  </a:lnTo>
                  <a:lnTo>
                    <a:pt x="1295858" y="723758"/>
                  </a:lnTo>
                  <a:lnTo>
                    <a:pt x="1295530" y="712327"/>
                  </a:lnTo>
                  <a:lnTo>
                    <a:pt x="1283296" y="707263"/>
                  </a:lnTo>
                  <a:lnTo>
                    <a:pt x="1262279" y="688446"/>
                  </a:lnTo>
                  <a:lnTo>
                    <a:pt x="1249674" y="680427"/>
                  </a:lnTo>
                  <a:lnTo>
                    <a:pt x="1237132" y="677243"/>
                  </a:lnTo>
                  <a:lnTo>
                    <a:pt x="1194331" y="675514"/>
                  </a:lnTo>
                  <a:lnTo>
                    <a:pt x="1181637" y="669319"/>
                  </a:lnTo>
                  <a:lnTo>
                    <a:pt x="1173102" y="666736"/>
                  </a:lnTo>
                  <a:lnTo>
                    <a:pt x="1169130" y="669172"/>
                  </a:lnTo>
                  <a:lnTo>
                    <a:pt x="1165476" y="674964"/>
                  </a:lnTo>
                  <a:lnTo>
                    <a:pt x="1157712" y="672204"/>
                  </a:lnTo>
                  <a:lnTo>
                    <a:pt x="1146053" y="662894"/>
                  </a:lnTo>
                  <a:lnTo>
                    <a:pt x="1135084" y="648659"/>
                  </a:lnTo>
                  <a:lnTo>
                    <a:pt x="1108519" y="591450"/>
                  </a:lnTo>
                  <a:lnTo>
                    <a:pt x="1121579" y="585731"/>
                  </a:lnTo>
                  <a:lnTo>
                    <a:pt x="1127902" y="585377"/>
                  </a:lnTo>
                  <a:lnTo>
                    <a:pt x="1135889" y="587780"/>
                  </a:lnTo>
                  <a:lnTo>
                    <a:pt x="1148903" y="596962"/>
                  </a:lnTo>
                  <a:lnTo>
                    <a:pt x="1156072" y="599526"/>
                  </a:lnTo>
                  <a:lnTo>
                    <a:pt x="1163497" y="596160"/>
                  </a:lnTo>
                  <a:lnTo>
                    <a:pt x="1166193" y="589954"/>
                  </a:lnTo>
                  <a:lnTo>
                    <a:pt x="1169152" y="578680"/>
                  </a:lnTo>
                  <a:lnTo>
                    <a:pt x="1171253" y="566460"/>
                  </a:lnTo>
                  <a:lnTo>
                    <a:pt x="1171347" y="557620"/>
                  </a:lnTo>
                  <a:lnTo>
                    <a:pt x="1167562" y="551683"/>
                  </a:lnTo>
                  <a:lnTo>
                    <a:pt x="1161453" y="545999"/>
                  </a:lnTo>
                  <a:lnTo>
                    <a:pt x="1156989" y="540070"/>
                  </a:lnTo>
                  <a:lnTo>
                    <a:pt x="1158077" y="533576"/>
                  </a:lnTo>
                  <a:lnTo>
                    <a:pt x="1158150" y="530018"/>
                  </a:lnTo>
                  <a:lnTo>
                    <a:pt x="1150023" y="527340"/>
                  </a:lnTo>
                  <a:lnTo>
                    <a:pt x="1138283" y="529262"/>
                  </a:lnTo>
                  <a:lnTo>
                    <a:pt x="1127263" y="534335"/>
                  </a:lnTo>
                  <a:lnTo>
                    <a:pt x="1121088" y="540973"/>
                  </a:lnTo>
                  <a:lnTo>
                    <a:pt x="1118824" y="540925"/>
                  </a:lnTo>
                  <a:lnTo>
                    <a:pt x="1110019" y="524746"/>
                  </a:lnTo>
                  <a:lnTo>
                    <a:pt x="1104396" y="511777"/>
                  </a:lnTo>
                  <a:lnTo>
                    <a:pt x="1103506" y="508965"/>
                  </a:lnTo>
                  <a:lnTo>
                    <a:pt x="1106490" y="497583"/>
                  </a:lnTo>
                  <a:lnTo>
                    <a:pt x="1111830" y="487836"/>
                  </a:lnTo>
                  <a:lnTo>
                    <a:pt x="1115515" y="478888"/>
                  </a:lnTo>
                  <a:lnTo>
                    <a:pt x="1113342" y="470161"/>
                  </a:lnTo>
                  <a:lnTo>
                    <a:pt x="1113430" y="466254"/>
                  </a:lnTo>
                  <a:lnTo>
                    <a:pt x="1117606" y="463204"/>
                  </a:lnTo>
                  <a:lnTo>
                    <a:pt x="1131832" y="459415"/>
                  </a:lnTo>
                  <a:lnTo>
                    <a:pt x="1137606" y="458979"/>
                  </a:lnTo>
                  <a:lnTo>
                    <a:pt x="1141201" y="456168"/>
                  </a:lnTo>
                  <a:lnTo>
                    <a:pt x="1146515" y="449158"/>
                  </a:lnTo>
                  <a:lnTo>
                    <a:pt x="1151921" y="440195"/>
                  </a:lnTo>
                  <a:lnTo>
                    <a:pt x="1155440" y="431659"/>
                  </a:lnTo>
                  <a:lnTo>
                    <a:pt x="1147779" y="432990"/>
                  </a:lnTo>
                  <a:lnTo>
                    <a:pt x="1134972" y="443682"/>
                  </a:lnTo>
                  <a:lnTo>
                    <a:pt x="1127731" y="446717"/>
                  </a:lnTo>
                  <a:lnTo>
                    <a:pt x="1128424" y="444823"/>
                  </a:lnTo>
                  <a:lnTo>
                    <a:pt x="1129464" y="440773"/>
                  </a:lnTo>
                  <a:lnTo>
                    <a:pt x="1130183" y="438952"/>
                  </a:lnTo>
                  <a:lnTo>
                    <a:pt x="1120026" y="439942"/>
                  </a:lnTo>
                  <a:lnTo>
                    <a:pt x="1102493" y="444930"/>
                  </a:lnTo>
                  <a:lnTo>
                    <a:pt x="1092196" y="445931"/>
                  </a:lnTo>
                  <a:lnTo>
                    <a:pt x="1080319" y="443584"/>
                  </a:lnTo>
                  <a:lnTo>
                    <a:pt x="1075108" y="445534"/>
                  </a:lnTo>
                  <a:lnTo>
                    <a:pt x="1063733" y="456014"/>
                  </a:lnTo>
                  <a:lnTo>
                    <a:pt x="1059788" y="457222"/>
                  </a:lnTo>
                  <a:lnTo>
                    <a:pt x="1050981" y="453772"/>
                  </a:lnTo>
                  <a:lnTo>
                    <a:pt x="1041692" y="444816"/>
                  </a:lnTo>
                  <a:lnTo>
                    <a:pt x="1035116" y="432085"/>
                  </a:lnTo>
                  <a:lnTo>
                    <a:pt x="1034549" y="417201"/>
                  </a:lnTo>
                  <a:lnTo>
                    <a:pt x="1039421" y="411437"/>
                  </a:lnTo>
                  <a:lnTo>
                    <a:pt x="1048641" y="407500"/>
                  </a:lnTo>
                  <a:lnTo>
                    <a:pt x="1058917" y="405682"/>
                  </a:lnTo>
                  <a:lnTo>
                    <a:pt x="1066746" y="406265"/>
                  </a:lnTo>
                  <a:lnTo>
                    <a:pt x="1066841" y="402358"/>
                  </a:lnTo>
                  <a:lnTo>
                    <a:pt x="1060884" y="400797"/>
                  </a:lnTo>
                  <a:lnTo>
                    <a:pt x="1056410" y="396312"/>
                  </a:lnTo>
                  <a:lnTo>
                    <a:pt x="1052053" y="394809"/>
                  </a:lnTo>
                  <a:lnTo>
                    <a:pt x="1046585" y="401865"/>
                  </a:lnTo>
                  <a:lnTo>
                    <a:pt x="1043898" y="395515"/>
                  </a:lnTo>
                  <a:lnTo>
                    <a:pt x="1045038" y="389099"/>
                  </a:lnTo>
                  <a:lnTo>
                    <a:pt x="1048279" y="383198"/>
                  </a:lnTo>
                  <a:lnTo>
                    <a:pt x="1051730" y="378560"/>
                  </a:lnTo>
                  <a:lnTo>
                    <a:pt x="1058748" y="381919"/>
                  </a:lnTo>
                  <a:lnTo>
                    <a:pt x="1085909" y="375143"/>
                  </a:lnTo>
                  <a:lnTo>
                    <a:pt x="1122476" y="375963"/>
                  </a:lnTo>
                  <a:lnTo>
                    <a:pt x="1130977" y="373864"/>
                  </a:lnTo>
                  <a:lnTo>
                    <a:pt x="1138114" y="369596"/>
                  </a:lnTo>
                  <a:lnTo>
                    <a:pt x="1152429" y="357421"/>
                  </a:lnTo>
                  <a:lnTo>
                    <a:pt x="1165388" y="351331"/>
                  </a:lnTo>
                  <a:lnTo>
                    <a:pt x="1171021" y="347185"/>
                  </a:lnTo>
                  <a:lnTo>
                    <a:pt x="1173452" y="337949"/>
                  </a:lnTo>
                  <a:lnTo>
                    <a:pt x="1173757" y="324114"/>
                  </a:lnTo>
                  <a:lnTo>
                    <a:pt x="1165566" y="310830"/>
                  </a:lnTo>
                  <a:lnTo>
                    <a:pt x="1139106" y="280923"/>
                  </a:lnTo>
                  <a:lnTo>
                    <a:pt x="1135380" y="274772"/>
                  </a:lnTo>
                  <a:lnTo>
                    <a:pt x="1133894" y="268668"/>
                  </a:lnTo>
                  <a:lnTo>
                    <a:pt x="1130906" y="265952"/>
                  </a:lnTo>
                  <a:lnTo>
                    <a:pt x="1124080" y="266014"/>
                  </a:lnTo>
                  <a:lnTo>
                    <a:pt x="1117053" y="267838"/>
                  </a:lnTo>
                  <a:lnTo>
                    <a:pt x="1113273" y="270361"/>
                  </a:lnTo>
                  <a:lnTo>
                    <a:pt x="1111105" y="266031"/>
                  </a:lnTo>
                  <a:lnTo>
                    <a:pt x="1122630" y="258468"/>
                  </a:lnTo>
                  <a:lnTo>
                    <a:pt x="1111777" y="227144"/>
                  </a:lnTo>
                  <a:lnTo>
                    <a:pt x="1107680" y="219095"/>
                  </a:lnTo>
                  <a:lnTo>
                    <a:pt x="1098321" y="212928"/>
                  </a:lnTo>
                  <a:lnTo>
                    <a:pt x="1080840" y="196769"/>
                  </a:lnTo>
                  <a:lnTo>
                    <a:pt x="1069769" y="190921"/>
                  </a:lnTo>
                  <a:lnTo>
                    <a:pt x="1069866" y="186993"/>
                  </a:lnTo>
                  <a:lnTo>
                    <a:pt x="1071974" y="176713"/>
                  </a:lnTo>
                  <a:lnTo>
                    <a:pt x="1067965" y="164981"/>
                  </a:lnTo>
                  <a:lnTo>
                    <a:pt x="1061835" y="153385"/>
                  </a:lnTo>
                  <a:lnTo>
                    <a:pt x="1057657" y="143418"/>
                  </a:lnTo>
                  <a:lnTo>
                    <a:pt x="1056161" y="128327"/>
                  </a:lnTo>
                  <a:lnTo>
                    <a:pt x="1057971" y="115109"/>
                  </a:lnTo>
                  <a:lnTo>
                    <a:pt x="1062859" y="98689"/>
                  </a:lnTo>
                  <a:lnTo>
                    <a:pt x="1074304" y="102581"/>
                  </a:lnTo>
                  <a:lnTo>
                    <a:pt x="1086430" y="103401"/>
                  </a:lnTo>
                  <a:lnTo>
                    <a:pt x="1109034" y="95471"/>
                  </a:lnTo>
                  <a:close/>
                  <a:moveTo>
                    <a:pt x="985025" y="0"/>
                  </a:moveTo>
                  <a:lnTo>
                    <a:pt x="1000384" y="8799"/>
                  </a:lnTo>
                  <a:lnTo>
                    <a:pt x="980354" y="9338"/>
                  </a:lnTo>
                  <a:lnTo>
                    <a:pt x="977713" y="12080"/>
                  </a:lnTo>
                  <a:lnTo>
                    <a:pt x="986753" y="13286"/>
                  </a:lnTo>
                  <a:lnTo>
                    <a:pt x="989250" y="20314"/>
                  </a:lnTo>
                  <a:lnTo>
                    <a:pt x="986118" y="28091"/>
                  </a:lnTo>
                  <a:lnTo>
                    <a:pt x="972555" y="35250"/>
                  </a:lnTo>
                  <a:lnTo>
                    <a:pt x="966089" y="44373"/>
                  </a:lnTo>
                  <a:lnTo>
                    <a:pt x="962332" y="55736"/>
                  </a:lnTo>
                  <a:lnTo>
                    <a:pt x="964906" y="66420"/>
                  </a:lnTo>
                  <a:lnTo>
                    <a:pt x="962385" y="86616"/>
                  </a:lnTo>
                  <a:lnTo>
                    <a:pt x="973209" y="97511"/>
                  </a:lnTo>
                  <a:lnTo>
                    <a:pt x="988943" y="101929"/>
                  </a:lnTo>
                  <a:lnTo>
                    <a:pt x="1060733" y="100170"/>
                  </a:lnTo>
                  <a:lnTo>
                    <a:pt x="1052320" y="106523"/>
                  </a:lnTo>
                  <a:lnTo>
                    <a:pt x="1011254" y="103161"/>
                  </a:lnTo>
                  <a:lnTo>
                    <a:pt x="1006036" y="105814"/>
                  </a:lnTo>
                  <a:lnTo>
                    <a:pt x="996760" y="112708"/>
                  </a:lnTo>
                  <a:lnTo>
                    <a:pt x="991737" y="114012"/>
                  </a:lnTo>
                  <a:lnTo>
                    <a:pt x="969050" y="113379"/>
                  </a:lnTo>
                  <a:lnTo>
                    <a:pt x="966940" y="112202"/>
                  </a:lnTo>
                  <a:lnTo>
                    <a:pt x="964247" y="107147"/>
                  </a:lnTo>
                  <a:lnTo>
                    <a:pt x="961502" y="105694"/>
                  </a:lnTo>
                  <a:lnTo>
                    <a:pt x="958339" y="105743"/>
                  </a:lnTo>
                  <a:lnTo>
                    <a:pt x="956171" y="106542"/>
                  </a:lnTo>
                  <a:lnTo>
                    <a:pt x="946000" y="113226"/>
                  </a:lnTo>
                  <a:lnTo>
                    <a:pt x="944265" y="114757"/>
                  </a:lnTo>
                  <a:lnTo>
                    <a:pt x="943254" y="118916"/>
                  </a:lnTo>
                  <a:lnTo>
                    <a:pt x="942432" y="130155"/>
                  </a:lnTo>
                  <a:lnTo>
                    <a:pt x="941397" y="132452"/>
                  </a:lnTo>
                  <a:lnTo>
                    <a:pt x="941580" y="163686"/>
                  </a:lnTo>
                  <a:lnTo>
                    <a:pt x="940413" y="173844"/>
                  </a:lnTo>
                  <a:lnTo>
                    <a:pt x="938510" y="181676"/>
                  </a:lnTo>
                  <a:lnTo>
                    <a:pt x="936390" y="183289"/>
                  </a:lnTo>
                  <a:lnTo>
                    <a:pt x="934459" y="175203"/>
                  </a:lnTo>
                  <a:lnTo>
                    <a:pt x="934650" y="160129"/>
                  </a:lnTo>
                  <a:lnTo>
                    <a:pt x="940343" y="98236"/>
                  </a:lnTo>
                  <a:lnTo>
                    <a:pt x="943815" y="86192"/>
                  </a:lnTo>
                  <a:lnTo>
                    <a:pt x="970738" y="16955"/>
                  </a:lnTo>
                  <a:close/>
                </a:path>
              </a:pathLst>
            </a:custGeom>
            <a:solidFill>
              <a:schemeClr val="accent1"/>
            </a:solidFill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817323" y="4450101"/>
            <a:ext cx="1624613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 smtClean="0">
                <a:solidFill>
                  <a:schemeClr val="accent1"/>
                </a:solidFill>
              </a:rPr>
              <a:t>1966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 smtClean="0"/>
              <a:t>Fundada</a:t>
            </a:r>
            <a:r>
              <a:rPr lang="en-GB" sz="1400" dirty="0" smtClean="0"/>
              <a:t> </a:t>
            </a:r>
            <a:r>
              <a:rPr lang="en-GB" sz="1400" dirty="0" err="1" smtClean="0"/>
              <a:t>por</a:t>
            </a:r>
            <a:r>
              <a:rPr lang="en-GB" sz="1400" dirty="0" smtClean="0"/>
              <a:t> 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smtClean="0"/>
              <a:t>HDI</a:t>
            </a:r>
            <a:endParaRPr lang="en-GB" sz="1400" dirty="0" smtClean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3055315" y="5471923"/>
            <a:ext cx="1932951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 smtClean="0">
                <a:solidFill>
                  <a:schemeClr val="accent1"/>
                </a:solidFill>
              </a:rPr>
              <a:t>50.20%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 smtClean="0"/>
              <a:t>Accionista</a:t>
            </a:r>
            <a:r>
              <a:rPr lang="en-GB" sz="1400" dirty="0" smtClean="0"/>
              <a:t> </a:t>
            </a:r>
            <a:r>
              <a:rPr lang="en-GB" sz="1400" dirty="0" err="1" smtClean="0"/>
              <a:t>Mayoritario</a:t>
            </a:r>
            <a:r>
              <a:rPr lang="en-GB" sz="1400" dirty="0" smtClean="0"/>
              <a:t>: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 smtClean="0"/>
              <a:t>Talanx</a:t>
            </a:r>
            <a:r>
              <a:rPr lang="en-GB" sz="1400" dirty="0" smtClean="0"/>
              <a:t> AG</a:t>
            </a:r>
            <a:endParaRPr lang="en-GB" sz="1400" dirty="0" smtClean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6597453" y="5520715"/>
            <a:ext cx="1624613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 smtClean="0">
                <a:solidFill>
                  <a:schemeClr val="accent1"/>
                </a:solidFill>
              </a:rPr>
              <a:t>3</a:t>
            </a:r>
            <a:r>
              <a:rPr lang="en-GB" sz="2000" b="1" baseline="30000" dirty="0" smtClean="0">
                <a:solidFill>
                  <a:schemeClr val="accent1"/>
                </a:solidFill>
              </a:rPr>
              <a:t>er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400" dirty="0" err="1" smtClean="0"/>
              <a:t>Reaseguradora</a:t>
            </a:r>
            <a:r>
              <a:rPr lang="en-GB" sz="1400" dirty="0" smtClean="0"/>
              <a:t> a </a:t>
            </a:r>
            <a:r>
              <a:rPr lang="en-GB" sz="1400" dirty="0" err="1" smtClean="0"/>
              <a:t>nivel</a:t>
            </a:r>
            <a:r>
              <a:rPr lang="en-GB" sz="1400" dirty="0" smtClean="0"/>
              <a:t> </a:t>
            </a:r>
            <a:r>
              <a:rPr lang="en-GB" sz="1400" dirty="0" err="1" smtClean="0"/>
              <a:t>mundial</a:t>
            </a:r>
            <a:endParaRPr lang="en-GB" sz="1400" dirty="0" smtClean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8703844" y="4533535"/>
            <a:ext cx="2560208" cy="16886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 smtClean="0">
                <a:solidFill>
                  <a:schemeClr val="accent1"/>
                </a:solidFill>
              </a:rPr>
              <a:t>&gt;170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dirty="0" err="1" smtClean="0"/>
              <a:t>Subsidiarias</a:t>
            </a:r>
            <a:r>
              <a:rPr lang="en-GB" sz="1200" dirty="0" smtClean="0"/>
              <a:t>, </a:t>
            </a:r>
            <a:r>
              <a:rPr lang="en-GB" sz="1200" dirty="0" err="1" smtClean="0"/>
              <a:t>sucursales</a:t>
            </a:r>
            <a:r>
              <a:rPr lang="en-GB" sz="1200" dirty="0" smtClean="0"/>
              <a:t> y </a:t>
            </a:r>
            <a:r>
              <a:rPr lang="en-GB" sz="1200" dirty="0" err="1" smtClean="0"/>
              <a:t>oficinas</a:t>
            </a:r>
            <a:r>
              <a:rPr lang="en-GB" sz="1200" dirty="0" smtClean="0"/>
              <a:t> de </a:t>
            </a:r>
            <a:r>
              <a:rPr lang="en-GB" sz="1200" dirty="0" err="1" smtClean="0"/>
              <a:t>representación</a:t>
            </a:r>
            <a:r>
              <a:rPr lang="en-GB" sz="1200" dirty="0" smtClean="0"/>
              <a:t> </a:t>
            </a:r>
            <a:r>
              <a:rPr lang="en-GB" sz="1200" dirty="0" err="1" smtClean="0"/>
              <a:t>en</a:t>
            </a:r>
            <a:r>
              <a:rPr lang="en-GB" sz="1200" dirty="0" smtClean="0"/>
              <a:t> el </a:t>
            </a:r>
            <a:r>
              <a:rPr lang="en-GB" sz="1200" dirty="0" err="1" smtClean="0"/>
              <a:t>mundo</a:t>
            </a:r>
            <a:endParaRPr lang="en-GB" sz="1200" dirty="0" smtClean="0"/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 smtClean="0">
                <a:solidFill>
                  <a:schemeClr val="accent1"/>
                </a:solidFill>
              </a:rPr>
              <a:t>&gt;3,000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200" dirty="0" err="1" smtClean="0"/>
              <a:t>Empleados</a:t>
            </a:r>
            <a:endParaRPr lang="en-GB" sz="1200" dirty="0" smtClean="0"/>
          </a:p>
        </p:txBody>
      </p:sp>
    </p:spTree>
    <p:extLst>
      <p:ext uri="{BB962C8B-B14F-4D97-AF65-F5344CB8AC3E}">
        <p14:creationId xmlns:p14="http://schemas.microsoft.com/office/powerpoint/2010/main" val="14401160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 smtClean="0"/>
              <a:t>Composición</a:t>
            </a:r>
            <a:r>
              <a:rPr lang="en-GB" sz="2800" dirty="0" smtClean="0"/>
              <a:t> </a:t>
            </a:r>
            <a:r>
              <a:rPr lang="en-GB" sz="2800" dirty="0" err="1" smtClean="0"/>
              <a:t>Accionaria</a:t>
            </a:r>
            <a:endParaRPr lang="en-GB" sz="2800" dirty="0"/>
          </a:p>
        </p:txBody>
      </p:sp>
      <p:grpSp>
        <p:nvGrpSpPr>
          <p:cNvPr id="23" name="Group 22"/>
          <p:cNvGrpSpPr/>
          <p:nvPr/>
        </p:nvGrpSpPr>
        <p:grpSpPr>
          <a:xfrm>
            <a:off x="2404981" y="1497122"/>
            <a:ext cx="7989444" cy="4700796"/>
            <a:chOff x="2404981" y="1213036"/>
            <a:chExt cx="7989444" cy="4700796"/>
          </a:xfrm>
        </p:grpSpPr>
        <p:sp>
          <p:nvSpPr>
            <p:cNvPr id="3" name="Rectangle 2"/>
            <p:cNvSpPr>
              <a:spLocks noChangeArrowheads="1"/>
            </p:cNvSpPr>
            <p:nvPr/>
          </p:nvSpPr>
          <p:spPr bwMode="auto">
            <a:xfrm>
              <a:off x="6342140" y="3965761"/>
              <a:ext cx="4052285" cy="838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headEnd type="none" w="sm" len="sm"/>
              <a:tailEnd type="none" w="sm" len="sm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>
                <a:spcBef>
                  <a:spcPct val="20000"/>
                </a:spcBef>
              </a:pPr>
              <a:r>
                <a:rPr lang="es-ES_tradnl" sz="1600" dirty="0"/>
                <a:t>&gt;</a:t>
              </a:r>
              <a:r>
                <a:rPr lang="es-ES_tradnl" sz="1600" dirty="0" smtClean="0"/>
                <a:t>170 Subsidiarias, sucursales/oficinas</a:t>
              </a:r>
            </a:p>
            <a:p>
              <a:pPr algn="ctr" eaLnBrk="0" hangingPunct="0">
                <a:spcBef>
                  <a:spcPct val="20000"/>
                </a:spcBef>
              </a:pPr>
              <a:r>
                <a:rPr lang="es-ES_tradnl" sz="1600" dirty="0" smtClean="0"/>
                <a:t> </a:t>
              </a:r>
              <a:r>
                <a:rPr lang="es-ES_tradnl" sz="1600" dirty="0"/>
                <a:t>de </a:t>
              </a:r>
              <a:r>
                <a:rPr lang="es-ES_tradnl" sz="1600" dirty="0" smtClean="0"/>
                <a:t>representación en </a:t>
              </a:r>
              <a:r>
                <a:rPr lang="es-ES_tradnl" sz="1600" dirty="0"/>
                <a:t>~20 países</a:t>
              </a:r>
            </a:p>
          </p:txBody>
        </p:sp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879437" y="5542319"/>
              <a:ext cx="2336194" cy="371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es-ES_tradnl" b="1" dirty="0">
                  <a:solidFill>
                    <a:schemeClr val="accent2"/>
                  </a:solidFill>
                </a:rPr>
                <a:t>Negocios alemanes</a:t>
              </a:r>
            </a:p>
          </p:txBody>
        </p:sp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6514075" y="4900938"/>
              <a:ext cx="2977395" cy="371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es-ES_tradnl" b="1" dirty="0">
                  <a:solidFill>
                    <a:schemeClr val="accent2"/>
                  </a:solidFill>
                </a:rPr>
                <a:t>Negocios internacionales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4583190" y="3959411"/>
              <a:ext cx="1501775" cy="84772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endParaRPr lang="es-ES_tradnl" sz="2000"/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2404981" y="4099905"/>
              <a:ext cx="1017588" cy="6238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r>
                <a:rPr lang="es-ES_tradnl" sz="1600" dirty="0"/>
                <a:t>8 Mutuas </a:t>
              </a:r>
            </a:p>
            <a:p>
              <a:pPr algn="ctr" eaLnBrk="0" hangingPunct="0"/>
              <a:r>
                <a:rPr lang="es-ES_tradnl" sz="1600" dirty="0"/>
                <a:t>alemanas</a:t>
              </a:r>
            </a:p>
          </p:txBody>
        </p:sp>
        <p:cxnSp>
          <p:nvCxnSpPr>
            <p:cNvPr id="8" name="AutoShape 7"/>
            <p:cNvCxnSpPr>
              <a:cxnSpLocks noChangeShapeType="1"/>
            </p:cNvCxnSpPr>
            <p:nvPr/>
          </p:nvCxnSpPr>
          <p:spPr bwMode="auto">
            <a:xfrm>
              <a:off x="5364240" y="3313299"/>
              <a:ext cx="0" cy="617537"/>
            </a:xfrm>
            <a:prstGeom prst="straightConnector1">
              <a:avLst/>
            </a:prstGeom>
            <a:ln>
              <a:headEnd type="none" w="sm" len="sm"/>
              <a:tailEnd type="triangle" w="med" len="med"/>
            </a:ln>
            <a:ex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AutoShape 8"/>
            <p:cNvCxnSpPr>
              <a:cxnSpLocks noChangeShapeType="1"/>
            </p:cNvCxnSpPr>
            <p:nvPr/>
          </p:nvCxnSpPr>
          <p:spPr bwMode="auto">
            <a:xfrm>
              <a:off x="6983490" y="3313299"/>
              <a:ext cx="0" cy="617537"/>
            </a:xfrm>
            <a:prstGeom prst="straightConnector1">
              <a:avLst/>
            </a:prstGeom>
            <a:ln>
              <a:headEnd type="none" w="sm" len="sm"/>
              <a:tailEnd type="triangle" w="med" len="med"/>
            </a:ln>
            <a:ex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3525915" y="4411849"/>
              <a:ext cx="982663" cy="0"/>
            </a:xfrm>
            <a:prstGeom prst="line">
              <a:avLst/>
            </a:prstGeom>
            <a:ln>
              <a:headEnd type="none" w="sm" len="sm"/>
              <a:tailEnd type="triangle" w="med" len="med"/>
            </a:ln>
            <a:ex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4811790" y="2236974"/>
              <a:ext cx="2646363" cy="1068387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endParaRPr lang="es-ES_tradnl" sz="1100" baseline="10000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6311978" y="1757549"/>
              <a:ext cx="660438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/>
                <a:t>49.8% 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6396115" y="1217799"/>
              <a:ext cx="1052513" cy="428625"/>
            </a:xfrm>
            <a:prstGeom prst="rect">
              <a:avLst/>
            </a:prstGeom>
            <a:solidFill>
              <a:schemeClr val="accent1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r>
                <a:rPr lang="es-ES_tradnl" sz="1600">
                  <a:solidFill>
                    <a:schemeClr val="bg1"/>
                  </a:solidFill>
                </a:rPr>
                <a:t>Bolsa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4805440" y="1213036"/>
              <a:ext cx="1052513" cy="433388"/>
            </a:xfrm>
            <a:prstGeom prst="rect">
              <a:avLst/>
            </a:prstGeom>
            <a:solidFill>
              <a:srgbClr val="00206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 hangingPunct="0"/>
              <a:r>
                <a:rPr lang="es-ES_tradnl" sz="1600" dirty="0" err="1">
                  <a:solidFill>
                    <a:schemeClr val="bg1"/>
                  </a:solidFill>
                </a:rPr>
                <a:t>Talanx</a:t>
              </a:r>
              <a:r>
                <a:rPr lang="es-ES_tradnl" sz="1600" dirty="0">
                  <a:solidFill>
                    <a:schemeClr val="bg1"/>
                  </a:solidFill>
                </a:rPr>
                <a:t> AG*</a:t>
              </a:r>
              <a:endParaRPr lang="es-ES_tradnl" sz="1600" baseline="3000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4719715" y="1763899"/>
              <a:ext cx="655638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/>
                <a:t>50.2%</a:t>
              </a:r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 rot="5400000">
              <a:off x="5080078" y="1936936"/>
              <a:ext cx="508000" cy="0"/>
            </a:xfrm>
            <a:prstGeom prst="line">
              <a:avLst/>
            </a:prstGeom>
            <a:ln>
              <a:headEnd type="none" w="sm" len="sm"/>
              <a:tailEnd type="triangle" w="med" len="med"/>
            </a:ln>
            <a:ex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auto">
            <a:xfrm rot="5400000">
              <a:off x="6713615" y="1949636"/>
              <a:ext cx="508000" cy="0"/>
            </a:xfrm>
            <a:prstGeom prst="line">
              <a:avLst/>
            </a:prstGeom>
            <a:ln>
              <a:headEnd type="none" w="sm" len="sm"/>
              <a:tailEnd type="triangle" w="med" len="med"/>
            </a:ln>
            <a:ex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8" name="Picture 17" descr="E+S_Rueck_Logo_PC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2915" y="4205474"/>
              <a:ext cx="846138" cy="236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0" descr="HannRe_Logo_2c_Pfad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836" r="-2501" b="-3145"/>
            <a:stretch>
              <a:fillRect/>
            </a:stretch>
          </p:blipFill>
          <p:spPr bwMode="auto">
            <a:xfrm>
              <a:off x="5505528" y="2648136"/>
              <a:ext cx="1303337" cy="246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4749878" y="3479986"/>
              <a:ext cx="762000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 smtClean="0"/>
                <a:t>64.8%</a:t>
              </a:r>
              <a:endParaRPr lang="es-ES_tradnl" sz="1200" b="1" dirty="0"/>
            </a:p>
          </p:txBody>
        </p:sp>
        <p:sp>
          <p:nvSpPr>
            <p:cNvPr id="21" name="Rectangle 22"/>
            <p:cNvSpPr>
              <a:spLocks noChangeArrowheads="1"/>
            </p:cNvSpPr>
            <p:nvPr/>
          </p:nvSpPr>
          <p:spPr bwMode="auto">
            <a:xfrm rot="356">
              <a:off x="3664027" y="4095879"/>
              <a:ext cx="706438" cy="274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>
              <a:spAutoFit/>
            </a:bodyPr>
            <a:lstStyle/>
            <a:p>
              <a:pPr algn="l" eaLnBrk="0" hangingPunct="0"/>
              <a:r>
                <a:rPr lang="es-ES_tradnl" sz="1200" b="1" dirty="0" smtClean="0"/>
                <a:t>35.1%</a:t>
              </a:r>
              <a:endParaRPr lang="es-ES_tradnl" sz="1200" b="1" dirty="0"/>
            </a:p>
          </p:txBody>
        </p:sp>
        <p:cxnSp>
          <p:nvCxnSpPr>
            <p:cNvPr id="22" name="AutoShape 7"/>
            <p:cNvCxnSpPr>
              <a:cxnSpLocks noChangeShapeType="1"/>
            </p:cNvCxnSpPr>
            <p:nvPr/>
          </p:nvCxnSpPr>
          <p:spPr bwMode="auto">
            <a:xfrm>
              <a:off x="5331061" y="4936517"/>
              <a:ext cx="0" cy="617537"/>
            </a:xfrm>
            <a:prstGeom prst="straightConnector1">
              <a:avLst/>
            </a:prstGeom>
            <a:ln>
              <a:headEnd type="none" w="sm" len="sm"/>
              <a:tailEnd type="triangle" w="med" len="med"/>
            </a:ln>
            <a:ex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19"/>
          <p:cNvSpPr>
            <a:spLocks noChangeArrowheads="1"/>
          </p:cNvSpPr>
          <p:nvPr/>
        </p:nvSpPr>
        <p:spPr bwMode="gray">
          <a:xfrm>
            <a:off x="403303" y="6039128"/>
            <a:ext cx="82105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l"/>
            <a:r>
              <a:rPr lang="es-ES_tradnl" sz="900" dirty="0">
                <a:solidFill>
                  <a:srgbClr val="B4AEAE"/>
                </a:solidFill>
              </a:rPr>
              <a:t>* 100% propiedad de HDI </a:t>
            </a:r>
            <a:r>
              <a:rPr lang="es-ES_tradnl" sz="900" dirty="0" err="1">
                <a:solidFill>
                  <a:srgbClr val="B4AEAE"/>
                </a:solidFill>
              </a:rPr>
              <a:t>V.a.G</a:t>
            </a:r>
            <a:r>
              <a:rPr lang="es-ES_tradnl" sz="900" dirty="0">
                <a:solidFill>
                  <a:srgbClr val="B4AEAE"/>
                </a:solidFill>
              </a:rPr>
              <a:t>..</a:t>
            </a:r>
          </a:p>
        </p:txBody>
      </p:sp>
    </p:spTree>
    <p:extLst>
      <p:ext uri="{BB962C8B-B14F-4D97-AF65-F5344CB8AC3E}">
        <p14:creationId xmlns:p14="http://schemas.microsoft.com/office/powerpoint/2010/main" val="24436851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specialistas</a:t>
            </a:r>
            <a:r>
              <a:rPr lang="en-GB" dirty="0" smtClean="0"/>
              <a:t> </a:t>
            </a:r>
            <a:r>
              <a:rPr lang="en-GB" dirty="0" err="1" smtClean="0"/>
              <a:t>en</a:t>
            </a:r>
            <a:r>
              <a:rPr lang="en-GB" dirty="0" smtClean="0"/>
              <a:t> Reaseguro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2601131" y="1363599"/>
            <a:ext cx="5963822" cy="4915897"/>
            <a:chOff x="2896686" y="1309225"/>
            <a:chExt cx="5736949" cy="4748258"/>
          </a:xfrm>
        </p:grpSpPr>
        <p:sp>
          <p:nvSpPr>
            <p:cNvPr id="3" name="Text Box 5"/>
            <p:cNvSpPr txBox="1">
              <a:spLocks noChangeArrowheads="1"/>
            </p:cNvSpPr>
            <p:nvPr/>
          </p:nvSpPr>
          <p:spPr bwMode="auto">
            <a:xfrm>
              <a:off x="4477576" y="5700746"/>
              <a:ext cx="2583789" cy="356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s-ES_tradnl" sz="1800" b="1" dirty="0">
                  <a:solidFill>
                    <a:schemeClr val="accent2">
                      <a:lumMod val="75000"/>
                    </a:schemeClr>
                  </a:solidFill>
                </a:rPr>
                <a:t>€</a:t>
              </a:r>
              <a:r>
                <a:rPr lang="es-ES_tradnl" sz="1800" b="1" dirty="0" smtClean="0">
                  <a:solidFill>
                    <a:schemeClr val="accent2">
                      <a:lumMod val="75000"/>
                    </a:schemeClr>
                  </a:solidFill>
                </a:rPr>
                <a:t> 33,276 M</a:t>
              </a:r>
              <a:endParaRPr lang="es-ES_tradnl" sz="1800" b="1" baseline="30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gray">
            <a:xfrm>
              <a:off x="5130634" y="1309225"/>
              <a:ext cx="1930730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82800" anchor="b"/>
            <a:lstStyle/>
            <a:p>
              <a:pPr algn="l">
                <a:tabLst>
                  <a:tab pos="4659313" algn="r"/>
                  <a:tab pos="8166100" algn="r"/>
                </a:tabLst>
              </a:pPr>
              <a:r>
                <a:rPr lang="es-ES_tradnl" b="1" dirty="0" smtClean="0">
                  <a:solidFill>
                    <a:schemeClr val="accent1"/>
                  </a:solidFill>
                </a:rPr>
                <a:t>Año </a:t>
              </a:r>
              <a:r>
                <a:rPr lang="es-ES_tradnl" b="1" dirty="0" smtClean="0">
                  <a:solidFill>
                    <a:schemeClr val="accent1"/>
                  </a:solidFill>
                </a:rPr>
                <a:t>2022</a:t>
              </a:r>
              <a:endParaRPr lang="es-ES_tradnl" b="1" dirty="0">
                <a:solidFill>
                  <a:schemeClr val="accent1"/>
                </a:solidFill>
              </a:endParaRPr>
            </a:p>
          </p:txBody>
        </p:sp>
        <p:sp>
          <p:nvSpPr>
            <p:cNvPr id="5" name="Line 9"/>
            <p:cNvSpPr>
              <a:spLocks noChangeShapeType="1"/>
            </p:cNvSpPr>
            <p:nvPr/>
          </p:nvSpPr>
          <p:spPr bwMode="gray">
            <a:xfrm flipV="1">
              <a:off x="4744019" y="1596306"/>
              <a:ext cx="2042285" cy="3691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graphicFrame>
          <p:nvGraphicFramePr>
            <p:cNvPr id="6" name="Chart 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502985094"/>
                </p:ext>
              </p:extLst>
            </p:nvPr>
          </p:nvGraphicFramePr>
          <p:xfrm>
            <a:off x="2896686" y="1753702"/>
            <a:ext cx="5736949" cy="394519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90F83D36-EC87-48D6-BCD6-89798B235156}"/>
              </a:ext>
            </a:extLst>
          </p:cNvPr>
          <p:cNvSpPr/>
          <p:nvPr/>
        </p:nvSpPr>
        <p:spPr bwMode="gray">
          <a:xfrm flipH="1">
            <a:off x="8564954" y="1236307"/>
            <a:ext cx="3081670" cy="2064454"/>
          </a:xfrm>
          <a:custGeom>
            <a:avLst/>
            <a:gdLst>
              <a:gd name="connsiteX0" fmla="*/ 2612585 w 2612585"/>
              <a:gd name="connsiteY0" fmla="*/ 0 h 1440000"/>
              <a:gd name="connsiteX1" fmla="*/ 0 w 2612585"/>
              <a:gd name="connsiteY1" fmla="*/ 0 h 1440000"/>
              <a:gd name="connsiteX2" fmla="*/ 0 w 2612585"/>
              <a:gd name="connsiteY2" fmla="*/ 1230322 h 1440000"/>
              <a:gd name="connsiteX3" fmla="*/ 1805952 w 2612585"/>
              <a:gd name="connsiteY3" fmla="*/ 1230322 h 1440000"/>
              <a:gd name="connsiteX4" fmla="*/ 2261568 w 2612585"/>
              <a:gd name="connsiteY4" fmla="*/ 1440000 h 1440000"/>
              <a:gd name="connsiteX5" fmla="*/ 2210901 w 2612585"/>
              <a:gd name="connsiteY5" fmla="*/ 1230322 h 1440000"/>
              <a:gd name="connsiteX6" fmla="*/ 2612585 w 2612585"/>
              <a:gd name="connsiteY6" fmla="*/ 1230322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585" h="1440000">
                <a:moveTo>
                  <a:pt x="2612585" y="0"/>
                </a:moveTo>
                <a:lnTo>
                  <a:pt x="0" y="0"/>
                </a:lnTo>
                <a:lnTo>
                  <a:pt x="0" y="1230322"/>
                </a:lnTo>
                <a:lnTo>
                  <a:pt x="1805952" y="1230322"/>
                </a:lnTo>
                <a:lnTo>
                  <a:pt x="2261568" y="1440000"/>
                </a:lnTo>
                <a:lnTo>
                  <a:pt x="2210901" y="1230322"/>
                </a:lnTo>
                <a:lnTo>
                  <a:pt x="2612585" y="1230322"/>
                </a:lnTo>
                <a:close/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/>
          </a:ln>
        </p:spPr>
        <p:txBody>
          <a:bodyPr wrap="square" lIns="270000" tIns="234000" rIns="252000" bIns="216000" rtlCol="0" anchor="t" anchorCtr="0">
            <a:noAutofit/>
          </a:bodyPr>
          <a:lstStyle/>
          <a:p>
            <a:pPr algn="ctr"/>
            <a:r>
              <a:rPr lang="en-GB" sz="2000" b="1" dirty="0" smtClean="0"/>
              <a:t>Fortaleza </a:t>
            </a:r>
            <a:r>
              <a:rPr lang="en-GB" sz="2000" b="1" dirty="0" err="1" smtClean="0"/>
              <a:t>Financiera</a:t>
            </a:r>
            <a:r>
              <a:rPr lang="en-GB" sz="2000" b="1" dirty="0" smtClean="0"/>
              <a:t>:</a:t>
            </a:r>
          </a:p>
          <a:p>
            <a:endParaRPr lang="en-GB" sz="1800" b="1" dirty="0" smtClean="0"/>
          </a:p>
          <a:p>
            <a:r>
              <a:rPr lang="en-GB" sz="1800" dirty="0" smtClean="0">
                <a:solidFill>
                  <a:schemeClr val="accent1"/>
                </a:solidFill>
              </a:rPr>
              <a:t>S&amp;P: </a:t>
            </a:r>
            <a:r>
              <a:rPr lang="en-GB" sz="1800" dirty="0" smtClean="0"/>
              <a:t>	AA-</a:t>
            </a:r>
          </a:p>
          <a:p>
            <a:endParaRPr lang="en-GB" sz="1800" dirty="0"/>
          </a:p>
          <a:p>
            <a:r>
              <a:rPr lang="en-GB" sz="1800" dirty="0" smtClean="0">
                <a:solidFill>
                  <a:schemeClr val="accent1"/>
                </a:solidFill>
              </a:rPr>
              <a:t>A.M. Best: </a:t>
            </a:r>
            <a:r>
              <a:rPr lang="en-GB" sz="1800" dirty="0" smtClean="0"/>
              <a:t>	A+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8321515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525" y="333297"/>
            <a:ext cx="11987300" cy="792237"/>
          </a:xfrm>
        </p:spPr>
        <p:txBody>
          <a:bodyPr/>
          <a:lstStyle/>
          <a:p>
            <a:r>
              <a:rPr lang="en-GB" sz="2800" dirty="0" err="1" smtClean="0"/>
              <a:t>Primas</a:t>
            </a:r>
            <a:r>
              <a:rPr lang="en-GB" sz="2800" dirty="0" smtClean="0"/>
              <a:t> </a:t>
            </a:r>
            <a:r>
              <a:rPr lang="en-GB" sz="2800" dirty="0" err="1" smtClean="0"/>
              <a:t>Emitidas</a:t>
            </a:r>
            <a:r>
              <a:rPr lang="en-GB" sz="2800" dirty="0" smtClean="0"/>
              <a:t> – </a:t>
            </a:r>
            <a:r>
              <a:rPr lang="en-GB" sz="2800" dirty="0" err="1" smtClean="0"/>
              <a:t>Cremiento</a:t>
            </a:r>
            <a:r>
              <a:rPr lang="en-GB" sz="2800" dirty="0" smtClean="0"/>
              <a:t> </a:t>
            </a:r>
            <a:r>
              <a:rPr lang="en-GB" sz="2800" dirty="0" err="1" smtClean="0"/>
              <a:t>Anual</a:t>
            </a:r>
            <a:endParaRPr lang="en-GB" sz="2800" dirty="0"/>
          </a:p>
        </p:txBody>
      </p:sp>
      <p:graphicFrame>
        <p:nvGraphicFramePr>
          <p:cNvPr id="10" name="Diagrammplatzhalter 22">
            <a:extLst>
              <a:ext uri="{FF2B5EF4-FFF2-40B4-BE49-F238E27FC236}">
                <a16:creationId xmlns:a16="http://schemas.microsoft.com/office/drawing/2014/main" id="{557F9D31-B679-4C33-84C5-8170BCA485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3163884"/>
              </p:ext>
            </p:extLst>
          </p:nvPr>
        </p:nvGraphicFramePr>
        <p:xfrm>
          <a:off x="416109" y="-1315843"/>
          <a:ext cx="11515901" cy="86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529043065"/>
              </p:ext>
            </p:extLst>
          </p:nvPr>
        </p:nvGraphicFramePr>
        <p:xfrm>
          <a:off x="132783" y="864633"/>
          <a:ext cx="12082551" cy="3227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9389327" y="5664820"/>
            <a:ext cx="2542683" cy="2453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100" i="1" dirty="0" err="1" smtClean="0"/>
              <a:t>En</a:t>
            </a:r>
            <a:r>
              <a:rPr lang="en-GB" sz="1100" i="1" dirty="0" smtClean="0"/>
              <a:t> €: </a:t>
            </a:r>
            <a:r>
              <a:rPr lang="en-GB" sz="1100" i="1" dirty="0"/>
              <a:t>M</a:t>
            </a:r>
            <a:r>
              <a:rPr lang="en-GB" sz="1100" i="1" dirty="0" smtClean="0"/>
              <a:t>/10</a:t>
            </a:r>
            <a:endParaRPr lang="en-GB" sz="1100" i="1" dirty="0" smtClean="0"/>
          </a:p>
        </p:txBody>
      </p:sp>
    </p:spTree>
    <p:extLst>
      <p:ext uri="{BB962C8B-B14F-4D97-AF65-F5344CB8AC3E}">
        <p14:creationId xmlns:p14="http://schemas.microsoft.com/office/powerpoint/2010/main" val="2617215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/>
              <a:t>2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5400" dirty="0" err="1" smtClean="0"/>
              <a:t>Estrategia</a:t>
            </a:r>
            <a:r>
              <a:rPr lang="en-GB" sz="5400" dirty="0" smtClean="0"/>
              <a:t> 2023 - 2026</a:t>
            </a:r>
            <a:endParaRPr lang="en-GB" sz="5400" dirty="0"/>
          </a:p>
        </p:txBody>
      </p:sp>
    </p:spTree>
    <p:extLst>
      <p:ext uri="{BB962C8B-B14F-4D97-AF65-F5344CB8AC3E}">
        <p14:creationId xmlns:p14="http://schemas.microsoft.com/office/powerpoint/2010/main" val="32001134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1" y="0"/>
            <a:ext cx="6278058" cy="6490010"/>
            <a:chOff x="0" y="0"/>
            <a:chExt cx="9978077" cy="6490010"/>
          </a:xfrm>
          <a:solidFill>
            <a:schemeClr val="accent5"/>
          </a:solidFill>
        </p:grpSpPr>
        <p:sp>
          <p:nvSpPr>
            <p:cNvPr id="4" name="Rectangle 3"/>
            <p:cNvSpPr/>
            <p:nvPr/>
          </p:nvSpPr>
          <p:spPr bwMode="gray">
            <a:xfrm>
              <a:off x="0" y="0"/>
              <a:ext cx="9210907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5" name="Isosceles Triangle 4"/>
            <p:cNvSpPr/>
            <p:nvPr/>
          </p:nvSpPr>
          <p:spPr bwMode="gray">
            <a:xfrm rot="5400000">
              <a:off x="9030223" y="4972902"/>
              <a:ext cx="1115122" cy="780586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" y="0"/>
            <a:ext cx="5006897" cy="6490010"/>
            <a:chOff x="1" y="0"/>
            <a:chExt cx="9991492" cy="649001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" name="Rectangle 7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9" name="Isosceles Triangle 8"/>
            <p:cNvSpPr/>
            <p:nvPr/>
          </p:nvSpPr>
          <p:spPr bwMode="gray">
            <a:xfrm rot="5400000">
              <a:off x="9043639" y="4103648"/>
              <a:ext cx="1115122" cy="780586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-1" y="0"/>
            <a:ext cx="4091001" cy="6490010"/>
            <a:chOff x="1" y="0"/>
            <a:chExt cx="9991491" cy="649001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" name="Rectangle 10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Isosceles Triangle 11"/>
            <p:cNvSpPr/>
            <p:nvPr/>
          </p:nvSpPr>
          <p:spPr bwMode="gray">
            <a:xfrm rot="5400000">
              <a:off x="9043639" y="2854713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" y="0"/>
            <a:ext cx="3187699" cy="6490010"/>
            <a:chOff x="1" y="0"/>
            <a:chExt cx="9991491" cy="6490010"/>
          </a:xfrm>
          <a:solidFill>
            <a:srgbClr val="002060"/>
          </a:solidFill>
        </p:grpSpPr>
        <p:sp>
          <p:nvSpPr>
            <p:cNvPr id="14" name="Rectangle 13"/>
            <p:cNvSpPr/>
            <p:nvPr/>
          </p:nvSpPr>
          <p:spPr bwMode="gray">
            <a:xfrm>
              <a:off x="1" y="0"/>
              <a:ext cx="9210906" cy="64900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5400000">
              <a:off x="9043639" y="1739590"/>
              <a:ext cx="1115122" cy="780585"/>
            </a:xfrm>
            <a:prstGeom prst="triangle">
              <a:avLst>
                <a:gd name="adj" fmla="val 5102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20" name="Pentagon 19"/>
          <p:cNvSpPr/>
          <p:nvPr/>
        </p:nvSpPr>
        <p:spPr bwMode="gray">
          <a:xfrm>
            <a:off x="5795367" y="311150"/>
            <a:ext cx="5971184" cy="1384300"/>
          </a:xfrm>
          <a:prstGeom prst="homePlat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9347200" y="584200"/>
            <a:ext cx="1879600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¿</a:t>
            </a:r>
            <a:r>
              <a:rPr lang="en-GB" dirty="0" err="1" smtClean="0">
                <a:solidFill>
                  <a:schemeClr val="bg1"/>
                </a:solidFill>
              </a:rPr>
              <a:t>Qué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vamos</a:t>
            </a:r>
            <a:r>
              <a:rPr lang="en-GB" dirty="0" smtClean="0">
                <a:solidFill>
                  <a:schemeClr val="bg1"/>
                </a:solidFill>
              </a:rPr>
              <a:t> a </a:t>
            </a:r>
            <a:r>
              <a:rPr lang="en-GB" dirty="0" err="1" smtClean="0">
                <a:solidFill>
                  <a:schemeClr val="bg1"/>
                </a:solidFill>
              </a:rPr>
              <a:t>hacer</a:t>
            </a:r>
            <a:r>
              <a:rPr lang="en-GB" dirty="0" smtClean="0">
                <a:solidFill>
                  <a:schemeClr val="bg1"/>
                </a:solidFill>
              </a:rPr>
              <a:t>?</a:t>
            </a:r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B615347-B122-4D37-B38C-2CC16713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43" y="-3820528"/>
            <a:ext cx="11518900" cy="79242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5767D387-3A76-46BF-863A-8273A0526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50551" y="2129295"/>
            <a:ext cx="2016000" cy="368577"/>
          </a:xfrm>
          <a:prstGeom prst="rect">
            <a:avLst/>
          </a:prstGeom>
        </p:spPr>
      </p:pic>
      <p:pic>
        <p:nvPicPr>
          <p:cNvPr id="24" name="Picture 6" descr="Hannover Re - Histor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5679" y="2411541"/>
            <a:ext cx="1542241" cy="104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 bwMode="gray">
          <a:xfrm rot="16200000">
            <a:off x="4505424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Objetivos</a:t>
            </a:r>
            <a:r>
              <a:rPr lang="en-GB" sz="1600" dirty="0" smtClean="0">
                <a:solidFill>
                  <a:srgbClr val="002060"/>
                </a:solidFill>
              </a:rPr>
              <a:t> de </a:t>
            </a:r>
            <a:r>
              <a:rPr lang="en-GB" sz="1600" dirty="0" err="1" smtClean="0">
                <a:solidFill>
                  <a:srgbClr val="002060"/>
                </a:solidFill>
              </a:rPr>
              <a:t>Negocio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 rot="16200000">
            <a:off x="3325421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Desmpeño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Financiero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 rot="16200000">
            <a:off x="2484052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Financier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 rot="16200000">
            <a:off x="1588796" y="964529"/>
            <a:ext cx="2063130" cy="266402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 smtClean="0">
                <a:solidFill>
                  <a:srgbClr val="002060"/>
                </a:solidFill>
              </a:rPr>
              <a:t>Recursos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r>
              <a:rPr lang="en-GB" sz="1600" dirty="0" err="1" smtClean="0">
                <a:solidFill>
                  <a:srgbClr val="002060"/>
                </a:solidFill>
              </a:rPr>
              <a:t>Humanos</a:t>
            </a:r>
            <a:endParaRPr lang="en-GB" sz="1600" dirty="0" smtClean="0">
              <a:solidFill>
                <a:srgbClr val="002060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9533101" y="3481230"/>
            <a:ext cx="2450899" cy="1324404"/>
            <a:chOff x="1738603" y="4079087"/>
            <a:chExt cx="2581219" cy="1349649"/>
          </a:xfrm>
        </p:grpSpPr>
        <p:grpSp>
          <p:nvGrpSpPr>
            <p:cNvPr id="38" name="Group 37"/>
            <p:cNvGrpSpPr/>
            <p:nvPr/>
          </p:nvGrpSpPr>
          <p:grpSpPr>
            <a:xfrm>
              <a:off x="1738603" y="4079087"/>
              <a:ext cx="2581219" cy="1349649"/>
              <a:chOff x="7161620" y="3217619"/>
              <a:chExt cx="3370524" cy="1912658"/>
            </a:xfrm>
          </p:grpSpPr>
          <p:sp>
            <p:nvSpPr>
              <p:cNvPr id="40" name="Rectangle 39"/>
              <p:cNvSpPr/>
              <p:nvPr/>
            </p:nvSpPr>
            <p:spPr bwMode="auto">
              <a:xfrm>
                <a:off x="7161620" y="3217619"/>
                <a:ext cx="3370524" cy="191265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07972" tIns="35091" rIns="107972" bIns="215944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  <a:t/>
                </a:r>
                <a:br>
                  <a:rPr kumimoji="0" lang="en-GB" sz="7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E3E3E"/>
                    </a:solidFill>
                    <a:effectLst/>
                    <a:uLnTx/>
                    <a:uFillTx/>
                    <a:latin typeface="Arial"/>
                  </a:rPr>
                </a:b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ts val="450"/>
                  </a:spcBef>
                  <a:spcAft>
                    <a:spcPct val="0"/>
                  </a:spcAft>
                  <a:buClr>
                    <a:srgbClr val="00519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9EE0"/>
                    </a:solidFill>
                    <a:effectLst/>
                    <a:uLnTx/>
                    <a:uFillTx/>
                    <a:latin typeface="Arial"/>
                  </a:rPr>
                  <a:t>equarium.hannover-re.com</a:t>
                </a:r>
                <a:endParaRPr kumimoji="0" lang="en-GB" sz="7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3E3E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8630" y="3520448"/>
                <a:ext cx="1529899" cy="535544"/>
              </a:xfrm>
              <a:prstGeom prst="rect">
                <a:avLst/>
              </a:prstGeom>
            </p:spPr>
          </p:pic>
          <p:cxnSp>
            <p:nvCxnSpPr>
              <p:cNvPr id="42" name="Straight Connector 41"/>
              <p:cNvCxnSpPr/>
              <p:nvPr/>
            </p:nvCxnSpPr>
            <p:spPr bwMode="auto">
              <a:xfrm>
                <a:off x="7270494" y="3370630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" name="Straight Connector 42"/>
              <p:cNvCxnSpPr/>
              <p:nvPr/>
            </p:nvCxnSpPr>
            <p:spPr bwMode="auto">
              <a:xfrm>
                <a:off x="7270494" y="5005201"/>
                <a:ext cx="3145912" cy="0"/>
              </a:xfrm>
              <a:prstGeom prst="lin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009EE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480" y="4292776"/>
              <a:ext cx="945618" cy="95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011148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d0e85a6-04bb-4f04-bf5d-ee0e25592b2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Titl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Ima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Claim"/>
</p:tagLst>
</file>

<file path=ppt/theme/theme1.xml><?xml version="1.0" encoding="utf-8"?>
<a:theme xmlns:a="http://schemas.openxmlformats.org/drawingml/2006/main" name="Hannover Re">
  <a:themeElements>
    <a:clrScheme name="Hannover Re">
      <a:dk1>
        <a:srgbClr val="3E3E3E"/>
      </a:dk1>
      <a:lt1>
        <a:srgbClr val="FFFFFF"/>
      </a:lt1>
      <a:dk2>
        <a:srgbClr val="A0B4BF"/>
      </a:dk2>
      <a:lt2>
        <a:srgbClr val="4D6B79"/>
      </a:lt2>
      <a:accent1>
        <a:srgbClr val="009EE0"/>
      </a:accent1>
      <a:accent2>
        <a:srgbClr val="005192"/>
      </a:accent2>
      <a:accent3>
        <a:srgbClr val="ACD819"/>
      </a:accent3>
      <a:accent4>
        <a:srgbClr val="7A9501"/>
      </a:accent4>
      <a:accent5>
        <a:srgbClr val="D3CFCA"/>
      </a:accent5>
      <a:accent6>
        <a:srgbClr val="91877B"/>
      </a:accent6>
      <a:hlink>
        <a:srgbClr val="009EE0"/>
      </a:hlink>
      <a:folHlink>
        <a:srgbClr val="4D6B79"/>
      </a:folHlink>
    </a:clrScheme>
    <a:fontScheme name="Hannover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R="0" algn="ctr" defTabSz="914400" rtl="0" eaLnBrk="1" fontAlgn="base" latinLnBrk="0" hangingPunct="1">
          <a:lnSpc>
            <a:spcPct val="100000"/>
          </a:lnSpc>
          <a:spcAft>
            <a:spcPct val="0"/>
          </a:spcAft>
          <a:buClr>
            <a:schemeClr val="accent2"/>
          </a:buClr>
          <a:buSzTx/>
          <a:tabLst/>
          <a:defRPr kumimoji="0" sz="1600" b="0" i="0" u="none" strike="noStrike" cap="none" normalizeH="0" baseline="0" dirty="0" err="1" smtClean="0">
            <a:ln>
              <a:noFill/>
            </a:ln>
            <a:effectLst/>
            <a:latin typeface="Arial" charset="0"/>
          </a:defRPr>
        </a:defPPr>
      </a:lstStyle>
    </a:spDef>
    <a:ln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0" tIns="0" rIns="0" bIns="0" rtlCol="0">
        <a:noAutofit/>
      </a:bodyPr>
      <a:lstStyle>
        <a:defPPr marL="0" indent="0" algn="l">
          <a:spcBef>
            <a:spcPts val="300"/>
          </a:spcBef>
          <a:buClr>
            <a:schemeClr val="accent2"/>
          </a:buClr>
          <a:buFont typeface="Arial" panose="020B0604020202020204" pitchFamily="34" charset="0"/>
          <a:buNone/>
          <a:defRPr sz="1600" dirty="0" err="1" smtClean="0"/>
        </a:defPPr>
      </a:lstStyle>
    </a:txDef>
  </a:objectDefaults>
  <a:extraClrSchemeLst/>
  <a:custClrLst>
    <a:custClr name="Orange light">
      <a:srgbClr val="E9AD05"/>
    </a:custClr>
    <a:custClr name="Orange dark">
      <a:srgbClr val="CC6C08"/>
    </a:custClr>
    <a:custClr name="Cyan 50%">
      <a:srgbClr val="83D0F0"/>
    </a:custClr>
    <a:custClr name="Grey-blue 60%">
      <a:srgbClr val="C6D2D9"/>
    </a:custClr>
    <a:custClr name="Warm Grey 20%">
      <a:srgbClr val="EAE8E5"/>
    </a:custClr>
    <a:custClr name="Dark grey">
      <a:srgbClr val="796E6B"/>
    </a:custClr>
    <a:custClr name="Red">
      <a:srgbClr val="FF0000"/>
    </a:custClr>
    <a:custClr name="Yellow">
      <a:srgbClr val="FFD200"/>
    </a:custClr>
    <a:custClr name="Green">
      <a:srgbClr val="ACD819"/>
    </a:custClr>
  </a:custClrLst>
  <a:extLst>
    <a:ext uri="{05A4C25C-085E-4340-85A3-A5531E510DB2}">
      <thm15:themeFamily xmlns:thm15="http://schemas.microsoft.com/office/thememl/2012/main" name="K16_Master_HannoverRE_V01_LB_01.potx" id="{711260B4-46A5-49A7-8E24-E0AA238201ED}" vid="{33850450-2E3A-408A-A4DD-407D8C85C5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annoverRe</Template>
  <TotalTime>2891</TotalTime>
  <Words>437</Words>
  <Application>Microsoft Office PowerPoint</Application>
  <PresentationFormat>Widescreen</PresentationFormat>
  <Paragraphs>267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Neue Haas Grotesk Text Pro</vt:lpstr>
      <vt:lpstr>Wingdings 3</vt:lpstr>
      <vt:lpstr>Hannover Re</vt:lpstr>
      <vt:lpstr>think-cell Folie</vt:lpstr>
      <vt:lpstr>PowerPoint Presentation</vt:lpstr>
      <vt:lpstr>Hannover Re</vt:lpstr>
      <vt:lpstr>¿Quiénes Somos?</vt:lpstr>
      <vt:lpstr>Presencia Mundial</vt:lpstr>
      <vt:lpstr>Composición Accionaria</vt:lpstr>
      <vt:lpstr>Especialistas en Reaseguro</vt:lpstr>
      <vt:lpstr>Primas Emitidas – Cremiento Anual</vt:lpstr>
      <vt:lpstr>Estrategia 2023 - 202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tos para el 202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annover Rück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rbano Bryan</dc:creator>
  <cp:lastModifiedBy>Urbano Bryan</cp:lastModifiedBy>
  <cp:revision>39</cp:revision>
  <dcterms:created xsi:type="dcterms:W3CDTF">2023-06-05T17:43:54Z</dcterms:created>
  <dcterms:modified xsi:type="dcterms:W3CDTF">2023-06-07T17:55:33Z</dcterms:modified>
</cp:coreProperties>
</file>